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13"/>
  </p:notesMasterIdLst>
  <p:handoutMasterIdLst>
    <p:handoutMasterId r:id="rId14"/>
  </p:handoutMasterIdLst>
  <p:sldIdLst>
    <p:sldId id="412" r:id="rId2"/>
    <p:sldId id="408" r:id="rId3"/>
    <p:sldId id="382" r:id="rId4"/>
    <p:sldId id="383" r:id="rId5"/>
    <p:sldId id="384" r:id="rId6"/>
    <p:sldId id="385" r:id="rId7"/>
    <p:sldId id="386" r:id="rId8"/>
    <p:sldId id="403" r:id="rId9"/>
    <p:sldId id="414" r:id="rId10"/>
    <p:sldId id="416" r:id="rId11"/>
    <p:sldId id="413" r:id="rId12"/>
  </p:sldIdLst>
  <p:sldSz cx="12192000" cy="6858000"/>
  <p:notesSz cx="9928225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70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5" orient="horz" pos="3748" userDrawn="1">
          <p15:clr>
            <a:srgbClr val="A4A3A4"/>
          </p15:clr>
        </p15:guide>
        <p15:guide id="6" pos="7378" userDrawn="1">
          <p15:clr>
            <a:srgbClr val="A4A3A4"/>
          </p15:clr>
        </p15:guide>
        <p15:guide id="7" pos="6198">
          <p15:clr>
            <a:srgbClr val="A4A3A4"/>
          </p15:clr>
        </p15:guide>
        <p15:guide id="8" pos="5292" userDrawn="1">
          <p15:clr>
            <a:srgbClr val="A4A3A4"/>
          </p15:clr>
        </p15:guide>
        <p15:guide id="9" pos="801" userDrawn="1">
          <p15:clr>
            <a:srgbClr val="A4A3A4"/>
          </p15:clr>
        </p15:guide>
        <p15:guide id="11" orient="horz" pos="3475" userDrawn="1">
          <p15:clr>
            <a:srgbClr val="A4A3A4"/>
          </p15:clr>
        </p15:guide>
        <p15:guide id="12" orient="horz" pos="119" userDrawn="1">
          <p15:clr>
            <a:srgbClr val="A4A3A4"/>
          </p15:clr>
        </p15:guide>
        <p15:guide id="13" orient="horz" pos="2069" userDrawn="1">
          <p15:clr>
            <a:srgbClr val="A4A3A4"/>
          </p15:clr>
        </p15:guide>
        <p15:guide id="14" orient="horz" pos="3521" userDrawn="1">
          <p15:clr>
            <a:srgbClr val="A4A3A4"/>
          </p15:clr>
        </p15:guide>
        <p15:guide id="15" pos="7379">
          <p15:clr>
            <a:srgbClr val="A4A3A4"/>
          </p15:clr>
        </p15:guide>
        <p15:guide id="16" pos="619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ugene Cherviachenko" initials="EC [7]" lastIdx="1" clrIdx="6">
    <p:extLst/>
  </p:cmAuthor>
  <p:cmAuthor id="1" name="Eugene Cherviachenko" initials="EC" lastIdx="1" clrIdx="0">
    <p:extLst/>
  </p:cmAuthor>
  <p:cmAuthor id="8" name="User" initials="U" lastIdx="0" clrIdx="7"/>
  <p:cmAuthor id="2" name="Eugene Cherviachenko" initials="EC [2]" lastIdx="1" clrIdx="1">
    <p:extLst/>
  </p:cmAuthor>
  <p:cmAuthor id="3" name="Eugene Cherviachenko" initials="EC [3]" lastIdx="3" clrIdx="2">
    <p:extLst/>
  </p:cmAuthor>
  <p:cmAuthor id="4" name="Eugene Cherviachenko" initials="EC [4]" lastIdx="1" clrIdx="3">
    <p:extLst/>
  </p:cmAuthor>
  <p:cmAuthor id="5" name="Eugene Cherviachenko" initials="EC [5]" lastIdx="1" clrIdx="4">
    <p:extLst/>
  </p:cmAuthor>
  <p:cmAuthor id="6" name="Eugene Cherviachenko" initials="EC [6]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D6E"/>
    <a:srgbClr val="255286"/>
    <a:srgbClr val="C43D59"/>
    <a:srgbClr val="616466"/>
    <a:srgbClr val="EDC11A"/>
    <a:srgbClr val="1D89CB"/>
    <a:srgbClr val="EEBB10"/>
    <a:srgbClr val="FFFF5D"/>
    <a:srgbClr val="FFFF89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86" autoAdjust="0"/>
    <p:restoredTop sz="89862" autoAdjust="0"/>
  </p:normalViewPr>
  <p:slideViewPr>
    <p:cSldViewPr showGuides="1">
      <p:cViewPr>
        <p:scale>
          <a:sx n="90" d="100"/>
          <a:sy n="90" d="100"/>
        </p:scale>
        <p:origin x="-1614" y="-342"/>
      </p:cViewPr>
      <p:guideLst>
        <p:guide orient="horz" pos="2704"/>
        <p:guide orient="horz" pos="3748"/>
        <p:guide orient="horz" pos="3475"/>
        <p:guide orient="horz" pos="119"/>
        <p:guide orient="horz" pos="2069"/>
        <p:guide orient="horz" pos="3521"/>
        <p:guide pos="3840"/>
        <p:guide pos="7378"/>
        <p:guide pos="6198"/>
        <p:guide pos="5292"/>
        <p:guide pos="801"/>
        <p:guide pos="7379"/>
        <p:guide pos="619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04" cy="339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quarter" idx="1"/>
          </p:nvPr>
        </p:nvSpPr>
        <p:spPr>
          <a:xfrm>
            <a:off x="5624604" y="0"/>
            <a:ext cx="4301304" cy="339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0DF1E6-F8C1-49DC-8BC1-D31B5C8A8918}" type="datetimeFigureOut">
              <a:rPr lang="uk-UA" smtClean="0"/>
              <a:pPr/>
              <a:t>01.12.2016</a:t>
            </a:fld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2"/>
          </p:nvPr>
        </p:nvSpPr>
        <p:spPr>
          <a:xfrm>
            <a:off x="0" y="6456644"/>
            <a:ext cx="4301304" cy="339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3"/>
          </p:nvPr>
        </p:nvSpPr>
        <p:spPr>
          <a:xfrm>
            <a:off x="5624604" y="6456644"/>
            <a:ext cx="4301304" cy="339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A53A4A-1212-49C3-B289-CFFE9A2C4532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56049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697" y="0"/>
            <a:ext cx="4302231" cy="3410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061267-C30D-C149-8E01-4CBDD3F772D8}" type="datetimeFigureOut">
              <a:rPr lang="ru-RU" smtClean="0"/>
              <a:pPr/>
              <a:t>01.12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Образец текста</a:t>
            </a:r>
          </a:p>
          <a:p>
            <a:pPr lvl="1"/>
            <a:r>
              <a:rPr lang="uk-UA"/>
              <a:t>Второй уровень</a:t>
            </a:r>
          </a:p>
          <a:p>
            <a:pPr lvl="2"/>
            <a:r>
              <a:rPr lang="uk-UA"/>
              <a:t>Третий уровень</a:t>
            </a:r>
          </a:p>
          <a:p>
            <a:pPr lvl="3"/>
            <a:r>
              <a:rPr lang="uk-UA"/>
              <a:t>Четвертый уровень</a:t>
            </a:r>
          </a:p>
          <a:p>
            <a:pPr lvl="4"/>
            <a:r>
              <a:rPr lang="uk-UA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613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697" y="6456613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152405-C691-1A48-84DD-19E45A3555FC}" type="slidenum">
              <a:rPr lang="ru-RU" smtClean="0"/>
              <a:pPr/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71426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49313"/>
            <a:ext cx="4076700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4DF921-AA94-4CF6-885A-31F5B4AD9226}" type="slidenum">
              <a:rPr lang="uk-UA" smtClean="0"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58815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152405-C691-1A48-84DD-19E45A3555FC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7373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 userDrawn="1"/>
        </p:nvSpPr>
        <p:spPr>
          <a:xfrm>
            <a:off x="1678517" y="387350"/>
            <a:ext cx="9793816" cy="73818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2400" b="1" dirty="0">
                <a:solidFill>
                  <a:prstClr val="white"/>
                </a:solidFill>
              </a:rPr>
              <a:t>МІНІСТЕРСТВО РЕГІОНАЛЬНОГО РОЗВИТКУ</a:t>
            </a:r>
          </a:p>
        </p:txBody>
      </p:sp>
    </p:spTree>
    <p:extLst>
      <p:ext uri="{BB962C8B-B14F-4D97-AF65-F5344CB8AC3E}">
        <p14:creationId xmlns:p14="http://schemas.microsoft.com/office/powerpoint/2010/main" val="3225952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11664958" y="-26988"/>
            <a:ext cx="527049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2" tIns="45691" rIns="91382" bIns="45691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1300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13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11611094" y="6535748"/>
            <a:ext cx="4475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9112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1200" smtClean="0">
                <a:solidFill>
                  <a:srgbClr val="7F7F7F"/>
                </a:solidFill>
                <a:latin typeface="Calibri" pitchFamily="34" charset="0"/>
              </a:rPr>
              <a:pPr algn="r" defTabSz="9112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12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717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11664958" y="-26988"/>
            <a:ext cx="527049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2" tIns="45691" rIns="91382" bIns="45691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4C8C96D-F6F1-4B7E-95CF-1A91D8C942B7}" type="slidenum">
              <a:rPr lang="uk-UA" sz="1300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13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19311" y="1199759"/>
            <a:ext cx="10228695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10972800" y="6311911"/>
            <a:ext cx="1051984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9127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9DE047-2961-4623-B7F7-AE98B42998D0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68777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11664958" y="-26988"/>
            <a:ext cx="527049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2" tIns="45691" rIns="91382" bIns="45691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8B9728F-861D-4F56-A866-9F5629174BC0}" type="slidenum">
              <a:rPr lang="uk-UA" sz="1300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13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19311" y="1199759"/>
            <a:ext cx="10228695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10972800" y="6311911"/>
            <a:ext cx="1051984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9127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44AAB8-6D46-40D7-B4DB-57112B525F6B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30607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334436" y="6453188"/>
            <a:ext cx="11523133" cy="0"/>
          </a:xfrm>
          <a:prstGeom prst="line">
            <a:avLst/>
          </a:prstGeom>
          <a:ln w="1905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35"/>
          <p:cNvCxnSpPr>
            <a:cxnSpLocks noChangeShapeType="1"/>
          </p:cNvCxnSpPr>
          <p:nvPr userDrawn="1"/>
        </p:nvCxnSpPr>
        <p:spPr bwMode="auto">
          <a:xfrm>
            <a:off x="0" y="765175"/>
            <a:ext cx="12192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335360" y="836712"/>
            <a:ext cx="11521280" cy="54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3"/>
          </p:nvPr>
        </p:nvSpPr>
        <p:spPr>
          <a:xfrm>
            <a:off x="334436" y="6237336"/>
            <a:ext cx="11523133" cy="2160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9647767" y="6524625"/>
            <a:ext cx="2209800" cy="293688"/>
          </a:xfrm>
          <a:prstGeom prst="rect">
            <a:avLst/>
          </a:prstGeom>
        </p:spPr>
        <p:txBody>
          <a:bodyPr/>
          <a:lstStyle>
            <a:lvl1pPr defTabSz="912770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E420E9B-5F95-4CCD-BAA5-A1FB06EE90F6}" type="slidenum">
              <a:rPr lang="ru-RU"/>
              <a:pPr>
                <a:defRPr/>
              </a:pPr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5968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75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/>
                </a:solidFill>
              </a:rPr>
              <a:pPr/>
              <a:t>‹№›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528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A22BA6-4249-4E3C-89AD-DB5C3ACBA8A9}" type="datetime1">
              <a:rPr lang="uk-UA" smtClean="0"/>
              <a:t>01.12.2016</a:t>
            </a:fld>
            <a:endParaRPr lang="uk-UA" dirty="0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9007140-6995-4AB9-AB6F-66370758DCF6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605763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1773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 txBox="1">
            <a:spLocks/>
          </p:cNvSpPr>
          <p:nvPr/>
        </p:nvSpPr>
        <p:spPr>
          <a:xfrm>
            <a:off x="1295400" y="120650"/>
            <a:ext cx="10769600" cy="609600"/>
          </a:xfrm>
          <a:prstGeom prst="rect">
            <a:avLst/>
          </a:prstGeom>
        </p:spPr>
        <p:txBody>
          <a:bodyPr lIns="0" tIns="0" rIns="0" bIns="0"/>
          <a:lstStyle>
            <a:lvl1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3154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86308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29462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726166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endParaRPr lang="uk-UA" sz="2000" spc="-30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cxnSp>
        <p:nvCxnSpPr>
          <p:cNvPr id="3075" name="Straight Connector 2"/>
          <p:cNvCxnSpPr>
            <a:cxnSpLocks noChangeShapeType="1"/>
          </p:cNvCxnSpPr>
          <p:nvPr/>
        </p:nvCxnSpPr>
        <p:spPr bwMode="auto">
          <a:xfrm>
            <a:off x="0" y="765175"/>
            <a:ext cx="12192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6" name="Straight Connector 12"/>
          <p:cNvCxnSpPr>
            <a:cxnSpLocks noChangeShapeType="1"/>
          </p:cNvCxnSpPr>
          <p:nvPr/>
        </p:nvCxnSpPr>
        <p:spPr bwMode="auto">
          <a:xfrm>
            <a:off x="0" y="836613"/>
            <a:ext cx="12192000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077" name="Picture 11" descr="minregion_logo_concept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12"/>
          <a:stretch>
            <a:fillRect/>
          </a:stretch>
        </p:blipFill>
        <p:spPr bwMode="auto">
          <a:xfrm>
            <a:off x="334436" y="9525"/>
            <a:ext cx="713317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989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</p:sldLayoutIdLst>
  <p:hf sldNum="0" hdr="0" ftr="0" dt="0"/>
  <p:txStyles>
    <p:titleStyle>
      <a:lvl1pPr algn="l" defTabSz="91122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122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ea typeface="MS PGothic" pitchFamily="34" charset="-128"/>
        </a:defRPr>
      </a:lvl2pPr>
      <a:lvl3pPr algn="l" defTabSz="91122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ea typeface="MS PGothic" pitchFamily="34" charset="-128"/>
        </a:defRPr>
      </a:lvl3pPr>
      <a:lvl4pPr algn="l" defTabSz="91122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ea typeface="MS PGothic" pitchFamily="34" charset="-128"/>
        </a:defRPr>
      </a:lvl4pPr>
      <a:lvl5pPr algn="l" defTabSz="91122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ea typeface="MS PGothic" pitchFamily="34" charset="-128"/>
        </a:defRPr>
      </a:lvl5pPr>
      <a:lvl6pPr marL="431543" algn="l" defTabSz="91252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863083" algn="l" defTabSz="91252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294623" algn="l" defTabSz="91252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726166" algn="l" defTabSz="91252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0975" indent="-180975" algn="l" defTabSz="911225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defTabSz="911225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+mn-ea"/>
        </a:defRPr>
      </a:lvl2pPr>
      <a:lvl3pPr marL="900113" indent="-179388" algn="l" defTabSz="911225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+mn-ea"/>
        </a:defRPr>
      </a:lvl3pPr>
      <a:lvl4pPr marL="1255713" indent="-174625" algn="l" defTabSz="911225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+mn-ea"/>
        </a:defRPr>
      </a:lvl4pPr>
      <a:lvl5pPr marL="1617663" indent="-180975" algn="l" defTabSz="911225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+mn-ea"/>
        </a:defRPr>
      </a:lvl5pPr>
      <a:lvl6pPr marL="2049822" indent="-181304" algn="l" defTabSz="912527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00">
          <a:solidFill>
            <a:schemeClr val="tx1"/>
          </a:solidFill>
          <a:latin typeface="+mn-lt"/>
          <a:ea typeface="+mn-ea"/>
        </a:defRPr>
      </a:lvl6pPr>
      <a:lvl7pPr marL="2481364" indent="-181304" algn="l" defTabSz="912527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00">
          <a:solidFill>
            <a:schemeClr val="tx1"/>
          </a:solidFill>
          <a:latin typeface="+mn-lt"/>
          <a:ea typeface="+mn-ea"/>
        </a:defRPr>
      </a:lvl7pPr>
      <a:lvl8pPr marL="2912907" indent="-181304" algn="l" defTabSz="912527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00">
          <a:solidFill>
            <a:schemeClr val="tx1"/>
          </a:solidFill>
          <a:latin typeface="+mn-lt"/>
          <a:ea typeface="+mn-ea"/>
        </a:defRPr>
      </a:lvl8pPr>
      <a:lvl9pPr marL="3344453" indent="-181304" algn="l" defTabSz="912527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543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083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4623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166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7710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89249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0791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2332" algn="l" defTabSz="86308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0"/>
          <p:cNvPicPr>
            <a:picLocks noChangeAspect="1"/>
          </p:cNvPicPr>
          <p:nvPr/>
        </p:nvPicPr>
        <p:blipFill>
          <a:blip r:embed="rId4"/>
          <a:srcRect b="12531"/>
          <a:stretch>
            <a:fillRect/>
          </a:stretch>
        </p:blipFill>
        <p:spPr bwMode="auto">
          <a:xfrm>
            <a:off x="74583" y="3573017"/>
            <a:ext cx="12130616" cy="328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8" y="0"/>
            <a:ext cx="144092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1549314" y="116632"/>
            <a:ext cx="9792147" cy="574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361" tIns="60361" rIns="60361" bIns="60361" anchor="ctr"/>
          <a:lstStyle/>
          <a:p>
            <a:pPr algn="ctr" defTabSz="703263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МІНІСТЕРСТВО РЕГІОНАЛЬНОГО РОЗВИТКУ, БУДІВНИЦТВА </a:t>
            </a:r>
            <a:b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</a:b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ТА ЖИТЛОВО-КОМУНАЛЬНОГО ГОСПОДАРСТВА УКРАЇНИ</a:t>
            </a:r>
          </a:p>
        </p:txBody>
      </p:sp>
      <p:sp>
        <p:nvSpPr>
          <p:cNvPr id="6" name="Прямоугольник 6"/>
          <p:cNvSpPr/>
          <p:nvPr/>
        </p:nvSpPr>
        <p:spPr>
          <a:xfrm>
            <a:off x="1487488" y="3717033"/>
            <a:ext cx="6268477" cy="158457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uk-UA" sz="1600" b="1" dirty="0" smtClean="0">
                <a:solidFill>
                  <a:schemeClr val="tx1"/>
                </a:solidFill>
                <a:latin typeface="+mj-lt"/>
              </a:rPr>
              <a:t>Попова Лілія Григорівна</a:t>
            </a:r>
          </a:p>
          <a:p>
            <a:pPr>
              <a:defRPr/>
            </a:pPr>
            <a:endParaRPr lang="uk-UA" sz="500" b="1" dirty="0">
              <a:solidFill>
                <a:schemeClr val="tx1"/>
              </a:solidFill>
              <a:latin typeface="+mj-lt"/>
            </a:endParaRPr>
          </a:p>
          <a:p>
            <a:pPr>
              <a:defRPr/>
            </a:pPr>
            <a:r>
              <a:rPr lang="uk-UA" sz="1400" dirty="0" smtClean="0">
                <a:solidFill>
                  <a:schemeClr val="tx1"/>
                </a:solidFill>
                <a:latin typeface="+mj-lt"/>
              </a:rPr>
              <a:t>Начальник відділу взаємодії з місцевими органами влади </a:t>
            </a:r>
          </a:p>
          <a:p>
            <a:pPr>
              <a:defRPr/>
            </a:pPr>
            <a:r>
              <a:rPr lang="uk-UA" sz="1400" dirty="0" smtClean="0">
                <a:solidFill>
                  <a:schemeClr val="tx1"/>
                </a:solidFill>
                <a:latin typeface="+mj-lt"/>
              </a:rPr>
              <a:t>Департаменту з питань місцевого самоврядування та територіальної організації влади Міністерства </a:t>
            </a:r>
            <a:r>
              <a:rPr lang="uk-UA" sz="1400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регіонального розвитку, будівництва </a:t>
            </a:r>
            <a:r>
              <a:rPr lang="uk-UA" sz="1400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та </a:t>
            </a:r>
            <a:r>
              <a:rPr lang="uk-UA" sz="1400" dirty="0">
                <a:solidFill>
                  <a:schemeClr val="tx1"/>
                </a:solidFill>
                <a:latin typeface="+mj-lt"/>
                <a:cs typeface="Times New Roman" pitchFamily="18" charset="0"/>
              </a:rPr>
              <a:t>житлово-комунального господарства України</a:t>
            </a:r>
            <a:endParaRPr lang="uk-UA" sz="14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uk-UA" sz="1600" dirty="0">
                <a:latin typeface="+mj-lt"/>
              </a:rPr>
              <a:t> </a:t>
            </a:r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06732" y="4941168"/>
            <a:ext cx="8898467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t>1</a:t>
            </a:fld>
            <a:endParaRPr lang="uk-UA" dirty="0"/>
          </a:p>
        </p:txBody>
      </p:sp>
      <p:sp>
        <p:nvSpPr>
          <p:cNvPr id="3" name="Прямокутник 2"/>
          <p:cNvSpPr/>
          <p:nvPr/>
        </p:nvSpPr>
        <p:spPr>
          <a:xfrm>
            <a:off x="2495600" y="1340768"/>
            <a:ext cx="907300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Деякі питання надання субвенції </a:t>
            </a: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/>
            </a:r>
            <a:b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з  державного  бюджету  місцевим  </a:t>
            </a:r>
            <a:r>
              <a:rPr lang="uk-UA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бюджетам </a:t>
            </a: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/>
            </a:r>
            <a:b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на  </a:t>
            </a:r>
            <a:r>
              <a:rPr lang="uk-UA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формування </a:t>
            </a: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інфраструктури</a:t>
            </a:r>
            <a:b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uk-UA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об’єднаних </a:t>
            </a: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територіальних  громад</a:t>
            </a:r>
            <a:endParaRPr lang="uk-UA" sz="24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18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кутник 54"/>
          <p:cNvSpPr/>
          <p:nvPr/>
        </p:nvSpPr>
        <p:spPr>
          <a:xfrm>
            <a:off x="335360" y="980729"/>
            <a:ext cx="1142526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algn="just"/>
            <a:r>
              <a:rPr lang="uk-UA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СУМСЬКА ОБЛАСТЬ  БЕРЕЗІВСЬКА СІЛЬСЬКА ОТГ  (субвенція – 9604,9 тис. грн. – 13 проектів)</a:t>
            </a:r>
          </a:p>
          <a:p>
            <a:pPr indent="361950" algn="just"/>
            <a:endParaRPr lang="uk-UA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371475" indent="-285750" algn="just">
              <a:buFont typeface="Wingdings" panose="05000000000000000000" pitchFamily="2" charset="2"/>
              <a:buChar char="§"/>
            </a:pPr>
            <a:r>
              <a:rPr lang="uk-UA" sz="1600" b="1" dirty="0" smtClean="0">
                <a:latin typeface="Calibri" panose="020F0502020204030204" pitchFamily="34" charset="0"/>
              </a:rPr>
              <a:t>Реконструкція вуличного освітлення</a:t>
            </a:r>
            <a:r>
              <a:rPr lang="uk-UA" sz="1600" dirty="0" smtClean="0">
                <a:latin typeface="Calibri" panose="020F0502020204030204" pitchFamily="34" charset="0"/>
              </a:rPr>
              <a:t> з використанням інноваційних технологій. В 6-ти населених пунктах встановлено </a:t>
            </a:r>
            <a:br>
              <a:rPr lang="uk-UA" sz="1600" dirty="0" smtClean="0">
                <a:latin typeface="Calibri" panose="020F0502020204030204" pitchFamily="34" charset="0"/>
              </a:rPr>
            </a:br>
            <a:r>
              <a:rPr lang="uk-UA" sz="1600" dirty="0" smtClean="0">
                <a:latin typeface="Calibri" panose="020F0502020204030204" pitchFamily="34" charset="0"/>
              </a:rPr>
              <a:t>45 вуличних світильників на сонячних </a:t>
            </a:r>
            <a:r>
              <a:rPr lang="uk-UA" sz="1600" dirty="0" err="1" smtClean="0">
                <a:latin typeface="Calibri" panose="020F0502020204030204" pitchFamily="34" charset="0"/>
              </a:rPr>
              <a:t>батареях</a:t>
            </a:r>
            <a:r>
              <a:rPr lang="uk-UA" sz="1600" dirty="0">
                <a:latin typeface="Calibri" panose="020F0502020204030204" pitchFamily="34" charset="0"/>
              </a:rPr>
              <a:t>. </a:t>
            </a:r>
            <a:r>
              <a:rPr lang="uk-UA" sz="1600" dirty="0" smtClean="0">
                <a:latin typeface="Calibri" panose="020F0502020204030204" pitchFamily="34" charset="0"/>
              </a:rPr>
              <a:t>(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1</a:t>
            </a:r>
            <a:r>
              <a:rPr lang="uk-UA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 349  тис. 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рн.)</a:t>
            </a:r>
          </a:p>
          <a:p>
            <a:pPr marL="371475" indent="-285750" algn="just">
              <a:buFont typeface="Wingdings" panose="05000000000000000000" pitchFamily="2" charset="2"/>
              <a:buChar char="§"/>
              <a:tabLst>
                <a:tab pos="361950" algn="l"/>
                <a:tab pos="446088" algn="l"/>
                <a:tab pos="627063" algn="l"/>
                <a:tab pos="712788" algn="l"/>
                <a:tab pos="808038" algn="l"/>
              </a:tabLst>
            </a:pPr>
            <a:r>
              <a:rPr lang="uk-UA" sz="1600" b="1" dirty="0" smtClean="0">
                <a:latin typeface="Calibri" panose="020F0502020204030204" pitchFamily="34" charset="0"/>
              </a:rPr>
              <a:t>Реконструкція водогону </a:t>
            </a:r>
            <a:r>
              <a:rPr lang="uk-UA" sz="1600" dirty="0" smtClean="0">
                <a:latin typeface="Calibri" panose="020F0502020204030204" pitchFamily="34" charset="0"/>
              </a:rPr>
              <a:t>в с. </a:t>
            </a:r>
            <a:r>
              <a:rPr lang="uk-UA" sz="1600" dirty="0" err="1" smtClean="0">
                <a:latin typeface="Calibri" panose="020F0502020204030204" pitchFamily="34" charset="0"/>
              </a:rPr>
              <a:t>Слоут</a:t>
            </a:r>
            <a:r>
              <a:rPr lang="uk-UA" sz="1600" dirty="0" smtClean="0">
                <a:latin typeface="Calibri" panose="020F0502020204030204" pitchFamily="34" charset="0"/>
              </a:rPr>
              <a:t> протяжністю 6,4 км. Загальна вартість більше 2 </a:t>
            </a:r>
            <a:r>
              <a:rPr lang="uk-UA" sz="1600" dirty="0">
                <a:latin typeface="Calibri" panose="020F0502020204030204" pitchFamily="34" charset="0"/>
              </a:rPr>
              <a:t>0</a:t>
            </a:r>
            <a:r>
              <a:rPr lang="uk-UA" sz="1600" dirty="0" smtClean="0">
                <a:latin typeface="Calibri" panose="020F0502020204030204" pitchFamily="34" charset="0"/>
              </a:rPr>
              <a:t>00 тис. грн., в </a:t>
            </a:r>
            <a:r>
              <a:rPr lang="uk-UA" sz="1600" dirty="0" err="1" smtClean="0">
                <a:latin typeface="Calibri" panose="020F0502020204030204" pitchFamily="34" charset="0"/>
              </a:rPr>
              <a:t>т.ч</a:t>
            </a:r>
            <a:r>
              <a:rPr lang="uk-UA" sz="1600" dirty="0" smtClean="0">
                <a:latin typeface="Calibri" panose="020F0502020204030204" pitchFamily="34" charset="0"/>
              </a:rPr>
              <a:t>. за рахунок коштів </a:t>
            </a:r>
            <a:r>
              <a:rPr lang="uk-UA" sz="1600" dirty="0">
                <a:latin typeface="Calibri" panose="020F0502020204030204" pitchFamily="34" charset="0"/>
              </a:rPr>
              <a:t>DESPRO  </a:t>
            </a:r>
            <a:r>
              <a:rPr lang="uk-UA" sz="1600" dirty="0" smtClean="0">
                <a:latin typeface="Calibri" panose="020F0502020204030204" pitchFamily="34" charset="0"/>
              </a:rPr>
              <a:t>900 </a:t>
            </a:r>
            <a:r>
              <a:rPr lang="uk-UA" sz="1600" dirty="0">
                <a:latin typeface="Calibri" panose="020F0502020204030204" pitchFamily="34" charset="0"/>
              </a:rPr>
              <a:t>тис. грн</a:t>
            </a:r>
            <a:r>
              <a:rPr lang="uk-UA" sz="1600" dirty="0" smtClean="0">
                <a:latin typeface="Calibri" panose="020F0502020204030204" pitchFamily="34" charset="0"/>
              </a:rPr>
              <a:t>.,  (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760 </a:t>
            </a:r>
            <a:r>
              <a:rPr lang="uk-UA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тис. 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рн.)</a:t>
            </a:r>
            <a:endParaRPr lang="uk-UA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371475" indent="-285750" algn="just">
              <a:buFont typeface="Wingdings" panose="05000000000000000000" pitchFamily="2" charset="2"/>
              <a:buChar char="§"/>
            </a:pPr>
            <a:r>
              <a:rPr lang="uk-UA" sz="1600" b="1" dirty="0" smtClean="0">
                <a:latin typeface="Calibri" panose="020F0502020204030204" pitchFamily="34" charset="0"/>
              </a:rPr>
              <a:t>Капітальний ремонт Березівського НВК. </a:t>
            </a:r>
            <a:r>
              <a:rPr lang="uk-UA" sz="1600" dirty="0" smtClean="0">
                <a:latin typeface="Calibri" panose="020F0502020204030204" pitchFamily="34" charset="0"/>
              </a:rPr>
              <a:t>Проведено заміну вікон, дверей, ремонт даху, ремонт класних кімнат. (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1</a:t>
            </a:r>
            <a:r>
              <a:rPr lang="uk-UA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 040,6 тис. 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рн.)</a:t>
            </a:r>
            <a:endParaRPr lang="uk-UA" sz="1600" b="1" dirty="0" smtClean="0">
              <a:latin typeface="Calibri" panose="020F0502020204030204" pitchFamily="34" charset="0"/>
            </a:endParaRPr>
          </a:p>
          <a:p>
            <a:pPr marL="371475" indent="-285750" algn="just"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Calibri" panose="020F0502020204030204" pitchFamily="34" charset="0"/>
              </a:rPr>
              <a:t>Капітальний</a:t>
            </a:r>
            <a:r>
              <a:rPr lang="ru-RU" sz="1600" b="1" dirty="0" smtClean="0">
                <a:latin typeface="Calibri" panose="020F0502020204030204" pitchFamily="34" charset="0"/>
              </a:rPr>
              <a:t> ремонт </a:t>
            </a:r>
            <a:r>
              <a:rPr lang="ru-RU" sz="1600" b="1" dirty="0" err="1" smtClean="0">
                <a:latin typeface="Calibri" panose="020F0502020204030204" pitchFamily="34" charset="0"/>
              </a:rPr>
              <a:t>будинку</a:t>
            </a:r>
            <a:r>
              <a:rPr lang="ru-RU" sz="1600" b="1" dirty="0" smtClean="0">
                <a:latin typeface="Calibri" panose="020F0502020204030204" pitchFamily="34" charset="0"/>
              </a:rPr>
              <a:t>  </a:t>
            </a:r>
            <a:r>
              <a:rPr lang="ru-RU" sz="1600" b="1" dirty="0" err="1" smtClean="0">
                <a:latin typeface="Calibri" panose="020F0502020204030204" pitchFamily="34" charset="0"/>
              </a:rPr>
              <a:t>культури</a:t>
            </a:r>
            <a:r>
              <a:rPr lang="ru-RU" sz="1600" b="1" dirty="0" smtClean="0">
                <a:latin typeface="Calibri" panose="020F0502020204030204" pitchFamily="34" charset="0"/>
              </a:rPr>
              <a:t> </a:t>
            </a:r>
            <a:r>
              <a:rPr lang="ru-RU" sz="1600" dirty="0" smtClean="0">
                <a:latin typeface="Calibri" panose="020F0502020204030204" pitchFamily="34" charset="0"/>
              </a:rPr>
              <a:t>в  с. </a:t>
            </a:r>
            <a:r>
              <a:rPr lang="ru-RU" sz="1600" dirty="0" err="1" smtClean="0">
                <a:latin typeface="Calibri" panose="020F0502020204030204" pitchFamily="34" charset="0"/>
              </a:rPr>
              <a:t>Слоут</a:t>
            </a:r>
            <a:r>
              <a:rPr lang="ru-RU" sz="1600" dirty="0" smtClean="0">
                <a:latin typeface="Calibri" panose="020F0502020204030204" pitchFamily="34" charset="0"/>
              </a:rPr>
              <a:t>. </a:t>
            </a:r>
            <a:r>
              <a:rPr lang="uk-UA" sz="1600" dirty="0" smtClean="0">
                <a:latin typeface="Calibri" panose="020F0502020204030204" pitchFamily="34" charset="0"/>
              </a:rPr>
              <a:t>Вартість -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440 тис. </a:t>
            </a:r>
            <a:r>
              <a:rPr lang="uk-UA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рн.</a:t>
            </a:r>
            <a:endParaRPr lang="ru-RU" sz="1600" b="1" dirty="0" smtClean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371475" indent="-285750" algn="just">
              <a:buFont typeface="Wingdings" panose="05000000000000000000" pitchFamily="2" charset="2"/>
              <a:buChar char="§"/>
              <a:tabLst>
                <a:tab pos="542925" algn="l"/>
              </a:tabLst>
            </a:pPr>
            <a:r>
              <a:rPr lang="ru-RU" sz="1600" b="1" dirty="0" err="1" smtClean="0">
                <a:latin typeface="Calibri" panose="020F0502020204030204" pitchFamily="34" charset="0"/>
              </a:rPr>
              <a:t>Реконструкція</a:t>
            </a:r>
            <a:r>
              <a:rPr lang="ru-RU" sz="1600" b="1" dirty="0" smtClean="0">
                <a:latin typeface="Calibri" panose="020F0502020204030204" pitchFamily="34" charset="0"/>
              </a:rPr>
              <a:t> </a:t>
            </a:r>
            <a:r>
              <a:rPr lang="ru-RU" sz="1600" b="1" dirty="0" err="1" smtClean="0">
                <a:latin typeface="Calibri" panose="020F0502020204030204" pitchFamily="34" charset="0"/>
              </a:rPr>
              <a:t>будинку</a:t>
            </a:r>
            <a:r>
              <a:rPr lang="ru-RU" sz="1600" b="1" dirty="0" smtClean="0">
                <a:latin typeface="Calibri" panose="020F0502020204030204" pitchFamily="34" charset="0"/>
              </a:rPr>
              <a:t> </a:t>
            </a:r>
            <a:r>
              <a:rPr lang="ru-RU" sz="1600" b="1" dirty="0" err="1" smtClean="0">
                <a:latin typeface="Calibri" panose="020F0502020204030204" pitchFamily="34" charset="0"/>
              </a:rPr>
              <a:t>культури</a:t>
            </a:r>
            <a:r>
              <a:rPr lang="ru-RU" sz="1600" dirty="0">
                <a:latin typeface="Calibri" panose="020F0502020204030204" pitchFamily="34" charset="0"/>
              </a:rPr>
              <a:t> с. </a:t>
            </a:r>
            <a:r>
              <a:rPr lang="ru-RU" sz="1600" dirty="0" smtClean="0">
                <a:latin typeface="Calibri" panose="020F0502020204030204" pitchFamily="34" charset="0"/>
              </a:rPr>
              <a:t>Шевченкове </a:t>
            </a:r>
            <a:r>
              <a:rPr lang="ru-RU" sz="1600" dirty="0">
                <a:latin typeface="Calibri" panose="020F0502020204030204" pitchFamily="34" charset="0"/>
              </a:rPr>
              <a:t>з </a:t>
            </a:r>
            <a:r>
              <a:rPr lang="ru-RU" sz="1600" dirty="0" err="1" smtClean="0">
                <a:latin typeface="Calibri" panose="020F0502020204030204" pitchFamily="34" charset="0"/>
              </a:rPr>
              <a:t>заміною</a:t>
            </a:r>
            <a:r>
              <a:rPr lang="ru-RU" sz="1600" dirty="0" smtClean="0"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latin typeface="Calibri" panose="020F0502020204030204" pitchFamily="34" charset="0"/>
              </a:rPr>
              <a:t>вікон</a:t>
            </a:r>
            <a:r>
              <a:rPr lang="ru-RU" sz="1600" dirty="0" smtClean="0">
                <a:latin typeface="Calibri" panose="020F0502020204030204" pitchFamily="34" charset="0"/>
              </a:rPr>
              <a:t>, </a:t>
            </a:r>
            <a:r>
              <a:rPr lang="ru-RU" sz="1600" dirty="0" err="1" smtClean="0">
                <a:latin typeface="Calibri" panose="020F0502020204030204" pitchFamily="34" charset="0"/>
              </a:rPr>
              <a:t>системи</a:t>
            </a:r>
            <a:r>
              <a:rPr lang="ru-RU" sz="1600" dirty="0" smtClean="0"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latin typeface="Calibri" panose="020F0502020204030204" pitchFamily="34" charset="0"/>
              </a:rPr>
              <a:t>опалення</a:t>
            </a:r>
            <a:r>
              <a:rPr lang="ru-RU" sz="1600" dirty="0" smtClean="0">
                <a:latin typeface="Calibri" panose="020F0502020204030204" pitchFamily="34" charset="0"/>
              </a:rPr>
              <a:t>, </a:t>
            </a:r>
            <a:r>
              <a:rPr lang="ru-RU" sz="1600" dirty="0" err="1" smtClean="0">
                <a:latin typeface="Calibri" panose="020F0502020204030204" pitchFamily="34" charset="0"/>
              </a:rPr>
              <a:t>влаштування</a:t>
            </a:r>
            <a:r>
              <a:rPr lang="ru-RU" sz="1600" dirty="0" smtClean="0"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latin typeface="Calibri" panose="020F0502020204030204" pitchFamily="34" charset="0"/>
              </a:rPr>
              <a:t>теплопостачання</a:t>
            </a:r>
            <a:r>
              <a:rPr lang="ru-RU" sz="1600" dirty="0" smtClean="0">
                <a:latin typeface="Calibri" panose="020F0502020204030204" pitchFamily="34" charset="0"/>
              </a:rPr>
              <a:t>. (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706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тис. </a:t>
            </a:r>
            <a:r>
              <a:rPr lang="uk-UA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рн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.)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371475" indent="-285750" algn="just"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Calibri" panose="020F0502020204030204" pitchFamily="34" charset="0"/>
              </a:rPr>
              <a:t>Реконструкція</a:t>
            </a:r>
            <a:r>
              <a:rPr lang="ru-RU" sz="1600" b="1" dirty="0" smtClean="0">
                <a:latin typeface="Calibri" panose="020F0502020204030204" pitchFamily="34" charset="0"/>
              </a:rPr>
              <a:t> </a:t>
            </a:r>
            <a:r>
              <a:rPr lang="ru-RU" sz="1600" b="1" dirty="0" err="1">
                <a:latin typeface="Calibri" panose="020F0502020204030204" pitchFamily="34" charset="0"/>
              </a:rPr>
              <a:t>системи</a:t>
            </a:r>
            <a:r>
              <a:rPr lang="ru-RU" sz="1600" b="1" dirty="0">
                <a:latin typeface="Calibri" panose="020F0502020204030204" pitchFamily="34" charset="0"/>
              </a:rPr>
              <a:t> </a:t>
            </a:r>
            <a:r>
              <a:rPr lang="ru-RU" sz="1600" b="1" dirty="0" err="1">
                <a:latin typeface="Calibri" panose="020F0502020204030204" pitchFamily="34" charset="0"/>
              </a:rPr>
              <a:t>теплопостачання</a:t>
            </a:r>
            <a:r>
              <a:rPr lang="ru-RU" sz="1600" b="1" dirty="0">
                <a:latin typeface="Calibri" panose="020F0502020204030204" pitchFamily="34" charset="0"/>
              </a:rPr>
              <a:t> </a:t>
            </a:r>
            <a:r>
              <a:rPr lang="ru-RU" sz="1600" dirty="0" err="1">
                <a:latin typeface="Calibri" panose="020F0502020204030204" pitchFamily="34" charset="0"/>
              </a:rPr>
              <a:t>Первомайського</a:t>
            </a:r>
            <a:r>
              <a:rPr lang="ru-RU" sz="1600" dirty="0">
                <a:latin typeface="Calibri" panose="020F0502020204030204" pitchFamily="34" charset="0"/>
              </a:rPr>
              <a:t> </a:t>
            </a:r>
            <a:r>
              <a:rPr lang="ru-RU" sz="1600" dirty="0" smtClean="0">
                <a:latin typeface="Calibri" panose="020F0502020204030204" pitchFamily="34" charset="0"/>
              </a:rPr>
              <a:t>НВК з </a:t>
            </a:r>
            <a:r>
              <a:rPr lang="ru-RU" sz="1600" dirty="0" err="1">
                <a:latin typeface="Calibri" panose="020F0502020204030204" pitchFamily="34" charset="0"/>
              </a:rPr>
              <a:t>встановленням</a:t>
            </a:r>
            <a:r>
              <a:rPr lang="ru-RU" sz="1600" dirty="0">
                <a:latin typeface="Calibri" panose="020F0502020204030204" pitchFamily="34" charset="0"/>
              </a:rPr>
              <a:t> </a:t>
            </a:r>
            <a:r>
              <a:rPr lang="ru-RU" sz="1600" dirty="0" err="1">
                <a:latin typeface="Calibri" panose="020F0502020204030204" pitchFamily="34" charset="0"/>
              </a:rPr>
              <a:t>блочно-модульної</a:t>
            </a:r>
            <a:r>
              <a:rPr lang="ru-RU" sz="1600" dirty="0">
                <a:latin typeface="Calibri" panose="020F0502020204030204" pitchFamily="34" charset="0"/>
              </a:rPr>
              <a:t> </a:t>
            </a:r>
            <a:r>
              <a:rPr lang="ru-RU" sz="1600" dirty="0" err="1" smtClean="0">
                <a:latin typeface="Calibri" panose="020F0502020204030204" pitchFamily="34" charset="0"/>
              </a:rPr>
              <a:t>котельні</a:t>
            </a:r>
            <a:r>
              <a:rPr lang="ru-RU" sz="1600" dirty="0">
                <a:latin typeface="Calibri" panose="020F0502020204030204" pitchFamily="34" charset="0"/>
              </a:rPr>
              <a:t> </a:t>
            </a:r>
            <a:r>
              <a:rPr lang="ru-RU" sz="1600" dirty="0" smtClean="0">
                <a:latin typeface="Calibri" panose="020F0502020204030204" pitchFamily="34" charset="0"/>
              </a:rPr>
              <a:t>(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850 тис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. грн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.)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371475" indent="-285750" algn="just"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Calibri" panose="020F0502020204030204" pitchFamily="34" charset="0"/>
              </a:rPr>
              <a:t>Придбання</a:t>
            </a:r>
            <a:r>
              <a:rPr lang="ru-RU" sz="1600" b="1" dirty="0" smtClean="0">
                <a:latin typeface="Calibri" panose="020F0502020204030204" pitchFamily="34" charset="0"/>
              </a:rPr>
              <a:t> </a:t>
            </a:r>
            <a:r>
              <a:rPr lang="ru-RU" sz="1600" b="1" dirty="0" err="1" smtClean="0">
                <a:latin typeface="Calibri" panose="020F0502020204030204" pitchFamily="34" charset="0"/>
              </a:rPr>
              <a:t>шкільного</a:t>
            </a:r>
            <a:r>
              <a:rPr lang="ru-RU" sz="1600" b="1" dirty="0" smtClean="0">
                <a:latin typeface="Calibri" panose="020F0502020204030204" pitchFamily="34" charset="0"/>
              </a:rPr>
              <a:t> автобуса (</a:t>
            </a:r>
            <a:r>
              <a:rPr lang="ru-RU" sz="1600" dirty="0" err="1" smtClean="0">
                <a:latin typeface="Calibri" panose="020F0502020204030204" pitchFamily="34" charset="0"/>
              </a:rPr>
              <a:t>близько</a:t>
            </a:r>
            <a:r>
              <a:rPr lang="ru-RU" sz="1600" dirty="0" smtClean="0">
                <a:latin typeface="Calibri" panose="020F0502020204030204" pitchFamily="34" charset="0"/>
              </a:rPr>
              <a:t>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1100 тис.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г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рн.).</a:t>
            </a:r>
            <a:endParaRPr lang="uk-UA" sz="1600" b="1" dirty="0" smtClean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just"/>
            <a:endParaRPr lang="uk-UA" sz="1600" dirty="0" smtClean="0">
              <a:latin typeface="Calibri" panose="020F0502020204030204" pitchFamily="34" charset="0"/>
            </a:endParaRPr>
          </a:p>
          <a:p>
            <a:pPr algn="just"/>
            <a:endParaRPr lang="uk-UA" sz="2000" dirty="0" smtClean="0"/>
          </a:p>
          <a:p>
            <a:pPr marL="342900" indent="-342900" algn="just">
              <a:buFontTx/>
              <a:buChar char="-"/>
            </a:pPr>
            <a:endParaRPr lang="uk-UA" sz="2000" dirty="0" smtClean="0"/>
          </a:p>
          <a:p>
            <a:pPr marL="342900" indent="-342900" algn="just">
              <a:buFontTx/>
              <a:buChar char="-"/>
            </a:pPr>
            <a:endParaRPr lang="uk-UA" sz="2000" dirty="0" smtClean="0"/>
          </a:p>
        </p:txBody>
      </p:sp>
      <p:sp>
        <p:nvSpPr>
          <p:cNvPr id="122" name="Rectangle 3"/>
          <p:cNvSpPr txBox="1">
            <a:spLocks noChangeArrowheads="1"/>
          </p:cNvSpPr>
          <p:nvPr/>
        </p:nvSpPr>
        <p:spPr bwMode="auto">
          <a:xfrm>
            <a:off x="1111073" y="155317"/>
            <a:ext cx="10479661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400" b="1" dirty="0" smtClean="0">
                <a:solidFill>
                  <a:schemeClr val="accent1"/>
                </a:solidFill>
                <a:latin typeface="Calibri" pitchFamily="34" charset="0"/>
              </a:rPr>
              <a:t>РЕАЛІЗОВАНІ  </a:t>
            </a:r>
            <a:r>
              <a:rPr lang="uk-UA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ІНФРАСТРУКТУРНІ  </a:t>
            </a:r>
            <a:r>
              <a:rPr lang="uk-UA" altLang="ru-RU" sz="2400" b="1" dirty="0" smtClean="0">
                <a:solidFill>
                  <a:schemeClr val="accent1"/>
                </a:solidFill>
                <a:latin typeface="Calibri" pitchFamily="34" charset="0"/>
              </a:rPr>
              <a:t>ПРОЕКТИ</a:t>
            </a:r>
            <a:endParaRPr lang="uk-UA" altLang="ru-RU" sz="24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pic>
        <p:nvPicPr>
          <p:cNvPr id="5" name="Рисунок 4" descr="фонарь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4493243"/>
            <a:ext cx="1839094" cy="1672062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Башта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888" y="4493244"/>
            <a:ext cx="2177291" cy="167206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DSC0200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392" y="4355645"/>
            <a:ext cx="1966342" cy="18096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6151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127448" y="2896096"/>
            <a:ext cx="9873528" cy="1180976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uk-UA" altLang="ru-RU" sz="4400" dirty="0" smtClean="0">
                <a:solidFill>
                  <a:srgbClr val="255286"/>
                </a:solidFill>
                <a:cs typeface="Arial" pitchFamily="34" charset="0"/>
              </a:rPr>
              <a:t>ДЯКУЮ ЗА УВАГУ</a:t>
            </a:r>
            <a:endParaRPr lang="en-US" altLang="ru-RU" sz="6000" cap="all" dirty="0" smtClean="0">
              <a:solidFill>
                <a:srgbClr val="255286"/>
              </a:solidFill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300" y="1052736"/>
            <a:ext cx="1549400" cy="1549394"/>
          </a:xfrm>
          <a:prstGeom prst="rect">
            <a:avLst/>
          </a:prstGeom>
        </p:spPr>
      </p:pic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2207568" y="4221088"/>
            <a:ext cx="7825432" cy="1930896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ru-RU" b="1" spc="105" dirty="0" err="1">
                <a:solidFill>
                  <a:srgbClr val="255286"/>
                </a:solidFill>
                <a:cs typeface="Arial"/>
              </a:rPr>
              <a:t>Міністерство</a:t>
            </a:r>
            <a:r>
              <a:rPr lang="ru-RU" b="1" spc="105" dirty="0">
                <a:solidFill>
                  <a:srgbClr val="255286"/>
                </a:solidFill>
                <a:cs typeface="Arial"/>
              </a:rPr>
              <a:t> </a:t>
            </a:r>
            <a:r>
              <a:rPr lang="ru-RU" b="1" spc="114" dirty="0" err="1">
                <a:solidFill>
                  <a:srgbClr val="255286"/>
                </a:solidFill>
                <a:cs typeface="Arial"/>
              </a:rPr>
              <a:t>регіонального</a:t>
            </a:r>
            <a:r>
              <a:rPr lang="ru-RU" b="1" spc="114" dirty="0">
                <a:solidFill>
                  <a:srgbClr val="255286"/>
                </a:solidFill>
                <a:cs typeface="Arial"/>
              </a:rPr>
              <a:t> </a:t>
            </a:r>
            <a:r>
              <a:rPr lang="ru-RU" b="1" spc="105" dirty="0" err="1">
                <a:solidFill>
                  <a:srgbClr val="255286"/>
                </a:solidFill>
                <a:cs typeface="Arial"/>
              </a:rPr>
              <a:t>розвитку</a:t>
            </a:r>
            <a:r>
              <a:rPr lang="ru-RU" b="1" spc="105" dirty="0">
                <a:solidFill>
                  <a:srgbClr val="255286"/>
                </a:solidFill>
                <a:cs typeface="Arial"/>
              </a:rPr>
              <a:t>,  </a:t>
            </a:r>
            <a:r>
              <a:rPr lang="ru-RU" b="1" spc="90" dirty="0" err="1">
                <a:solidFill>
                  <a:srgbClr val="255286"/>
                </a:solidFill>
                <a:cs typeface="Arial"/>
              </a:rPr>
              <a:t>будівництва</a:t>
            </a:r>
            <a:r>
              <a:rPr lang="ru-RU" b="1" spc="90" dirty="0">
                <a:solidFill>
                  <a:srgbClr val="255286"/>
                </a:solidFill>
                <a:cs typeface="Arial"/>
              </a:rPr>
              <a:t> </a:t>
            </a:r>
            <a:r>
              <a:rPr lang="ru-RU" b="1" spc="40" dirty="0">
                <a:solidFill>
                  <a:srgbClr val="255286"/>
                </a:solidFill>
                <a:cs typeface="Arial"/>
              </a:rPr>
              <a:t>та </a:t>
            </a:r>
            <a:r>
              <a:rPr lang="ru-RU" b="1" spc="125" dirty="0" err="1">
                <a:solidFill>
                  <a:srgbClr val="255286"/>
                </a:solidFill>
                <a:cs typeface="Arial"/>
              </a:rPr>
              <a:t>житлово-комунального</a:t>
            </a:r>
            <a:r>
              <a:rPr lang="ru-RU" b="1" spc="125" dirty="0">
                <a:solidFill>
                  <a:srgbClr val="255286"/>
                </a:solidFill>
                <a:cs typeface="Arial"/>
              </a:rPr>
              <a:t> </a:t>
            </a:r>
            <a:r>
              <a:rPr lang="ru-RU" b="1" spc="110" dirty="0" err="1">
                <a:solidFill>
                  <a:srgbClr val="255286"/>
                </a:solidFill>
                <a:cs typeface="Arial"/>
              </a:rPr>
              <a:t>господарства</a:t>
            </a:r>
            <a:r>
              <a:rPr lang="ru-RU" b="1" spc="-114" dirty="0">
                <a:solidFill>
                  <a:srgbClr val="255286"/>
                </a:solidFill>
                <a:cs typeface="Arial"/>
              </a:rPr>
              <a:t> </a:t>
            </a:r>
            <a:r>
              <a:rPr lang="ru-RU" b="1" spc="110" dirty="0" err="1" smtClean="0">
                <a:solidFill>
                  <a:srgbClr val="255286"/>
                </a:solidFill>
                <a:cs typeface="Arial"/>
              </a:rPr>
              <a:t>України</a:t>
            </a:r>
            <a:endParaRPr lang="ru-RU" b="1" dirty="0">
              <a:solidFill>
                <a:srgbClr val="255286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5482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2340504" y="130175"/>
            <a:ext cx="8327497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СУБВЕНЦІЯ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НА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>
                <a:solidFill>
                  <a:schemeClr val="accent1"/>
                </a:solidFill>
                <a:latin typeface="Calibri" pitchFamily="34" charset="0"/>
              </a:rPr>
              <a:t>ФОРМУВАННЯ 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ІНФРАСТРУКТУРИ </a:t>
            </a:r>
            <a:b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</a:b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ОБ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’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ЄДНАНИХ 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ТЕРИТОРІАЛЬНИХ </a:t>
            </a:r>
            <a:r>
              <a:rPr lang="en-US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 </a:t>
            </a:r>
            <a:r>
              <a:rPr lang="uk-UA" altLang="ru-RU" sz="2100" b="1" dirty="0" smtClean="0">
                <a:solidFill>
                  <a:schemeClr val="accent1"/>
                </a:solidFill>
                <a:latin typeface="Calibri" pitchFamily="34" charset="0"/>
              </a:rPr>
              <a:t>ГРОМАД</a:t>
            </a:r>
            <a:endParaRPr lang="uk-UA" altLang="ru-RU" sz="21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grpSp>
        <p:nvGrpSpPr>
          <p:cNvPr id="126" name="Group 12"/>
          <p:cNvGrpSpPr>
            <a:grpSpLocks noChangeAspect="1"/>
          </p:cNvGrpSpPr>
          <p:nvPr/>
        </p:nvGrpSpPr>
        <p:grpSpPr bwMode="auto">
          <a:xfrm>
            <a:off x="2207568" y="1196752"/>
            <a:ext cx="2088232" cy="1973645"/>
            <a:chOff x="1743" y="1165"/>
            <a:chExt cx="2273" cy="1983"/>
          </a:xfrm>
          <a:solidFill>
            <a:srgbClr val="EEBB10"/>
          </a:solidFill>
        </p:grpSpPr>
        <p:sp>
          <p:nvSpPr>
            <p:cNvPr id="127" name="Freeform 14"/>
            <p:cNvSpPr>
              <a:spLocks/>
            </p:cNvSpPr>
            <p:nvPr/>
          </p:nvSpPr>
          <p:spPr bwMode="auto">
            <a:xfrm>
              <a:off x="3259" y="1447"/>
              <a:ext cx="311" cy="637"/>
            </a:xfrm>
            <a:custGeom>
              <a:avLst/>
              <a:gdLst>
                <a:gd name="T0" fmla="*/ 358 w 623"/>
                <a:gd name="T1" fmla="*/ 4 h 1274"/>
                <a:gd name="T2" fmla="*/ 389 w 623"/>
                <a:gd name="T3" fmla="*/ 50 h 1274"/>
                <a:gd name="T4" fmla="*/ 391 w 623"/>
                <a:gd name="T5" fmla="*/ 146 h 1274"/>
                <a:gd name="T6" fmla="*/ 396 w 623"/>
                <a:gd name="T7" fmla="*/ 150 h 1274"/>
                <a:gd name="T8" fmla="*/ 412 w 623"/>
                <a:gd name="T9" fmla="*/ 153 h 1274"/>
                <a:gd name="T10" fmla="*/ 471 w 623"/>
                <a:gd name="T11" fmla="*/ 165 h 1274"/>
                <a:gd name="T12" fmla="*/ 542 w 623"/>
                <a:gd name="T13" fmla="*/ 185 h 1274"/>
                <a:gd name="T14" fmla="*/ 582 w 623"/>
                <a:gd name="T15" fmla="*/ 212 h 1274"/>
                <a:gd name="T16" fmla="*/ 558 w 623"/>
                <a:gd name="T17" fmla="*/ 306 h 1274"/>
                <a:gd name="T18" fmla="*/ 528 w 623"/>
                <a:gd name="T19" fmla="*/ 335 h 1274"/>
                <a:gd name="T20" fmla="*/ 491 w 623"/>
                <a:gd name="T21" fmla="*/ 331 h 1274"/>
                <a:gd name="T22" fmla="*/ 463 w 623"/>
                <a:gd name="T23" fmla="*/ 319 h 1274"/>
                <a:gd name="T24" fmla="*/ 394 w 623"/>
                <a:gd name="T25" fmla="*/ 300 h 1274"/>
                <a:gd name="T26" fmla="*/ 299 w 623"/>
                <a:gd name="T27" fmla="*/ 296 h 1274"/>
                <a:gd name="T28" fmla="*/ 232 w 623"/>
                <a:gd name="T29" fmla="*/ 322 h 1274"/>
                <a:gd name="T30" fmla="*/ 200 w 623"/>
                <a:gd name="T31" fmla="*/ 365 h 1274"/>
                <a:gd name="T32" fmla="*/ 196 w 623"/>
                <a:gd name="T33" fmla="*/ 416 h 1274"/>
                <a:gd name="T34" fmla="*/ 222 w 623"/>
                <a:gd name="T35" fmla="*/ 465 h 1274"/>
                <a:gd name="T36" fmla="*/ 292 w 623"/>
                <a:gd name="T37" fmla="*/ 511 h 1274"/>
                <a:gd name="T38" fmla="*/ 424 w 623"/>
                <a:gd name="T39" fmla="*/ 569 h 1274"/>
                <a:gd name="T40" fmla="*/ 549 w 623"/>
                <a:gd name="T41" fmla="*/ 651 h 1274"/>
                <a:gd name="T42" fmla="*/ 612 w 623"/>
                <a:gd name="T43" fmla="*/ 756 h 1274"/>
                <a:gd name="T44" fmla="*/ 620 w 623"/>
                <a:gd name="T45" fmla="*/ 884 h 1274"/>
                <a:gd name="T46" fmla="*/ 573 w 623"/>
                <a:gd name="T47" fmla="*/ 998 h 1274"/>
                <a:gd name="T48" fmla="*/ 477 w 623"/>
                <a:gd name="T49" fmla="*/ 1081 h 1274"/>
                <a:gd name="T50" fmla="*/ 387 w 623"/>
                <a:gd name="T51" fmla="*/ 1113 h 1274"/>
                <a:gd name="T52" fmla="*/ 382 w 623"/>
                <a:gd name="T53" fmla="*/ 1117 h 1274"/>
                <a:gd name="T54" fmla="*/ 380 w 623"/>
                <a:gd name="T55" fmla="*/ 1224 h 1274"/>
                <a:gd name="T56" fmla="*/ 349 w 623"/>
                <a:gd name="T57" fmla="*/ 1271 h 1274"/>
                <a:gd name="T58" fmla="*/ 263 w 623"/>
                <a:gd name="T59" fmla="*/ 1271 h 1274"/>
                <a:gd name="T60" fmla="*/ 232 w 623"/>
                <a:gd name="T61" fmla="*/ 1224 h 1274"/>
                <a:gd name="T62" fmla="*/ 230 w 623"/>
                <a:gd name="T63" fmla="*/ 1122 h 1274"/>
                <a:gd name="T64" fmla="*/ 223 w 623"/>
                <a:gd name="T65" fmla="*/ 1118 h 1274"/>
                <a:gd name="T66" fmla="*/ 203 w 623"/>
                <a:gd name="T67" fmla="*/ 1115 h 1274"/>
                <a:gd name="T68" fmla="*/ 131 w 623"/>
                <a:gd name="T69" fmla="*/ 1100 h 1274"/>
                <a:gd name="T70" fmla="*/ 47 w 623"/>
                <a:gd name="T71" fmla="*/ 1074 h 1274"/>
                <a:gd name="T72" fmla="*/ 3 w 623"/>
                <a:gd name="T73" fmla="*/ 1042 h 1274"/>
                <a:gd name="T74" fmla="*/ 26 w 623"/>
                <a:gd name="T75" fmla="*/ 947 h 1274"/>
                <a:gd name="T76" fmla="*/ 57 w 623"/>
                <a:gd name="T77" fmla="*/ 919 h 1274"/>
                <a:gd name="T78" fmla="*/ 85 w 623"/>
                <a:gd name="T79" fmla="*/ 919 h 1274"/>
                <a:gd name="T80" fmla="*/ 105 w 623"/>
                <a:gd name="T81" fmla="*/ 927 h 1274"/>
                <a:gd name="T82" fmla="*/ 157 w 623"/>
                <a:gd name="T83" fmla="*/ 946 h 1274"/>
                <a:gd name="T84" fmla="*/ 230 w 623"/>
                <a:gd name="T85" fmla="*/ 967 h 1274"/>
                <a:gd name="T86" fmla="*/ 318 w 623"/>
                <a:gd name="T87" fmla="*/ 969 h 1274"/>
                <a:gd name="T88" fmla="*/ 405 w 623"/>
                <a:gd name="T89" fmla="*/ 928 h 1274"/>
                <a:gd name="T90" fmla="*/ 438 w 623"/>
                <a:gd name="T91" fmla="*/ 851 h 1274"/>
                <a:gd name="T92" fmla="*/ 411 w 623"/>
                <a:gd name="T93" fmla="*/ 777 h 1274"/>
                <a:gd name="T94" fmla="*/ 324 w 623"/>
                <a:gd name="T95" fmla="*/ 716 h 1274"/>
                <a:gd name="T96" fmla="*/ 205 w 623"/>
                <a:gd name="T97" fmla="*/ 665 h 1274"/>
                <a:gd name="T98" fmla="*/ 106 w 623"/>
                <a:gd name="T99" fmla="*/ 607 h 1274"/>
                <a:gd name="T100" fmla="*/ 36 w 623"/>
                <a:gd name="T101" fmla="*/ 526 h 1274"/>
                <a:gd name="T102" fmla="*/ 10 w 623"/>
                <a:gd name="T103" fmla="*/ 416 h 1274"/>
                <a:gd name="T104" fmla="*/ 37 w 623"/>
                <a:gd name="T105" fmla="*/ 300 h 1274"/>
                <a:gd name="T106" fmla="*/ 113 w 623"/>
                <a:gd name="T107" fmla="*/ 211 h 1274"/>
                <a:gd name="T108" fmla="*/ 232 w 623"/>
                <a:gd name="T109" fmla="*/ 157 h 1274"/>
                <a:gd name="T110" fmla="*/ 238 w 623"/>
                <a:gd name="T111" fmla="*/ 154 h 1274"/>
                <a:gd name="T112" fmla="*/ 243 w 623"/>
                <a:gd name="T113" fmla="*/ 146 h 1274"/>
                <a:gd name="T114" fmla="*/ 258 w 623"/>
                <a:gd name="T115" fmla="*/ 14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3" h="1274">
                  <a:moveTo>
                    <a:pt x="294" y="0"/>
                  </a:moveTo>
                  <a:lnTo>
                    <a:pt x="338" y="0"/>
                  </a:lnTo>
                  <a:lnTo>
                    <a:pt x="358" y="4"/>
                  </a:lnTo>
                  <a:lnTo>
                    <a:pt x="375" y="14"/>
                  </a:lnTo>
                  <a:lnTo>
                    <a:pt x="386" y="30"/>
                  </a:lnTo>
                  <a:lnTo>
                    <a:pt x="389" y="50"/>
                  </a:lnTo>
                  <a:lnTo>
                    <a:pt x="390" y="140"/>
                  </a:lnTo>
                  <a:lnTo>
                    <a:pt x="390" y="145"/>
                  </a:lnTo>
                  <a:lnTo>
                    <a:pt x="391" y="146"/>
                  </a:lnTo>
                  <a:lnTo>
                    <a:pt x="393" y="147"/>
                  </a:lnTo>
                  <a:lnTo>
                    <a:pt x="394" y="149"/>
                  </a:lnTo>
                  <a:lnTo>
                    <a:pt x="396" y="150"/>
                  </a:lnTo>
                  <a:lnTo>
                    <a:pt x="397" y="150"/>
                  </a:lnTo>
                  <a:lnTo>
                    <a:pt x="401" y="150"/>
                  </a:lnTo>
                  <a:lnTo>
                    <a:pt x="412" y="153"/>
                  </a:lnTo>
                  <a:lnTo>
                    <a:pt x="429" y="156"/>
                  </a:lnTo>
                  <a:lnTo>
                    <a:pt x="448" y="160"/>
                  </a:lnTo>
                  <a:lnTo>
                    <a:pt x="471" y="165"/>
                  </a:lnTo>
                  <a:lnTo>
                    <a:pt x="495" y="171"/>
                  </a:lnTo>
                  <a:lnTo>
                    <a:pt x="520" y="178"/>
                  </a:lnTo>
                  <a:lnTo>
                    <a:pt x="542" y="185"/>
                  </a:lnTo>
                  <a:lnTo>
                    <a:pt x="562" y="193"/>
                  </a:lnTo>
                  <a:lnTo>
                    <a:pt x="573" y="200"/>
                  </a:lnTo>
                  <a:lnTo>
                    <a:pt x="582" y="212"/>
                  </a:lnTo>
                  <a:lnTo>
                    <a:pt x="586" y="226"/>
                  </a:lnTo>
                  <a:lnTo>
                    <a:pt x="583" y="242"/>
                  </a:lnTo>
                  <a:lnTo>
                    <a:pt x="558" y="306"/>
                  </a:lnTo>
                  <a:lnTo>
                    <a:pt x="551" y="318"/>
                  </a:lnTo>
                  <a:lnTo>
                    <a:pt x="540" y="328"/>
                  </a:lnTo>
                  <a:lnTo>
                    <a:pt x="528" y="335"/>
                  </a:lnTo>
                  <a:lnTo>
                    <a:pt x="514" y="336"/>
                  </a:lnTo>
                  <a:lnTo>
                    <a:pt x="502" y="335"/>
                  </a:lnTo>
                  <a:lnTo>
                    <a:pt x="491" y="331"/>
                  </a:lnTo>
                  <a:lnTo>
                    <a:pt x="488" y="329"/>
                  </a:lnTo>
                  <a:lnTo>
                    <a:pt x="478" y="325"/>
                  </a:lnTo>
                  <a:lnTo>
                    <a:pt x="463" y="319"/>
                  </a:lnTo>
                  <a:lnTo>
                    <a:pt x="444" y="313"/>
                  </a:lnTo>
                  <a:lnTo>
                    <a:pt x="420" y="306"/>
                  </a:lnTo>
                  <a:lnTo>
                    <a:pt x="394" y="300"/>
                  </a:lnTo>
                  <a:lnTo>
                    <a:pt x="364" y="296"/>
                  </a:lnTo>
                  <a:lnTo>
                    <a:pt x="331" y="295"/>
                  </a:lnTo>
                  <a:lnTo>
                    <a:pt x="299" y="296"/>
                  </a:lnTo>
                  <a:lnTo>
                    <a:pt x="273" y="302"/>
                  </a:lnTo>
                  <a:lnTo>
                    <a:pt x="251" y="311"/>
                  </a:lnTo>
                  <a:lnTo>
                    <a:pt x="232" y="322"/>
                  </a:lnTo>
                  <a:lnTo>
                    <a:pt x="218" y="335"/>
                  </a:lnTo>
                  <a:lnTo>
                    <a:pt x="207" y="350"/>
                  </a:lnTo>
                  <a:lnTo>
                    <a:pt x="200" y="365"/>
                  </a:lnTo>
                  <a:lnTo>
                    <a:pt x="194" y="381"/>
                  </a:lnTo>
                  <a:lnTo>
                    <a:pt x="193" y="398"/>
                  </a:lnTo>
                  <a:lnTo>
                    <a:pt x="196" y="416"/>
                  </a:lnTo>
                  <a:lnTo>
                    <a:pt x="200" y="434"/>
                  </a:lnTo>
                  <a:lnTo>
                    <a:pt x="208" y="450"/>
                  </a:lnTo>
                  <a:lnTo>
                    <a:pt x="222" y="465"/>
                  </a:lnTo>
                  <a:lnTo>
                    <a:pt x="240" y="481"/>
                  </a:lnTo>
                  <a:lnTo>
                    <a:pt x="263" y="496"/>
                  </a:lnTo>
                  <a:lnTo>
                    <a:pt x="292" y="511"/>
                  </a:lnTo>
                  <a:lnTo>
                    <a:pt x="327" y="527"/>
                  </a:lnTo>
                  <a:lnTo>
                    <a:pt x="369" y="544"/>
                  </a:lnTo>
                  <a:lnTo>
                    <a:pt x="424" y="569"/>
                  </a:lnTo>
                  <a:lnTo>
                    <a:pt x="473" y="595"/>
                  </a:lnTo>
                  <a:lnTo>
                    <a:pt x="514" y="622"/>
                  </a:lnTo>
                  <a:lnTo>
                    <a:pt x="549" y="651"/>
                  </a:lnTo>
                  <a:lnTo>
                    <a:pt x="576" y="684"/>
                  </a:lnTo>
                  <a:lnTo>
                    <a:pt x="597" y="719"/>
                  </a:lnTo>
                  <a:lnTo>
                    <a:pt x="612" y="756"/>
                  </a:lnTo>
                  <a:lnTo>
                    <a:pt x="620" y="796"/>
                  </a:lnTo>
                  <a:lnTo>
                    <a:pt x="623" y="840"/>
                  </a:lnTo>
                  <a:lnTo>
                    <a:pt x="620" y="884"/>
                  </a:lnTo>
                  <a:lnTo>
                    <a:pt x="611" y="925"/>
                  </a:lnTo>
                  <a:lnTo>
                    <a:pt x="595" y="963"/>
                  </a:lnTo>
                  <a:lnTo>
                    <a:pt x="573" y="998"/>
                  </a:lnTo>
                  <a:lnTo>
                    <a:pt x="546" y="1030"/>
                  </a:lnTo>
                  <a:lnTo>
                    <a:pt x="514" y="1058"/>
                  </a:lnTo>
                  <a:lnTo>
                    <a:pt x="477" y="1081"/>
                  </a:lnTo>
                  <a:lnTo>
                    <a:pt x="434" y="1099"/>
                  </a:lnTo>
                  <a:lnTo>
                    <a:pt x="389" y="1113"/>
                  </a:lnTo>
                  <a:lnTo>
                    <a:pt x="387" y="1113"/>
                  </a:lnTo>
                  <a:lnTo>
                    <a:pt x="386" y="1114"/>
                  </a:lnTo>
                  <a:lnTo>
                    <a:pt x="383" y="1115"/>
                  </a:lnTo>
                  <a:lnTo>
                    <a:pt x="382" y="1117"/>
                  </a:lnTo>
                  <a:lnTo>
                    <a:pt x="380" y="1120"/>
                  </a:lnTo>
                  <a:lnTo>
                    <a:pt x="380" y="1124"/>
                  </a:lnTo>
                  <a:lnTo>
                    <a:pt x="380" y="1224"/>
                  </a:lnTo>
                  <a:lnTo>
                    <a:pt x="376" y="1244"/>
                  </a:lnTo>
                  <a:lnTo>
                    <a:pt x="365" y="1260"/>
                  </a:lnTo>
                  <a:lnTo>
                    <a:pt x="349" y="1271"/>
                  </a:lnTo>
                  <a:lnTo>
                    <a:pt x="329" y="1274"/>
                  </a:lnTo>
                  <a:lnTo>
                    <a:pt x="283" y="1274"/>
                  </a:lnTo>
                  <a:lnTo>
                    <a:pt x="263" y="1271"/>
                  </a:lnTo>
                  <a:lnTo>
                    <a:pt x="247" y="1260"/>
                  </a:lnTo>
                  <a:lnTo>
                    <a:pt x="236" y="1244"/>
                  </a:lnTo>
                  <a:lnTo>
                    <a:pt x="232" y="1224"/>
                  </a:lnTo>
                  <a:lnTo>
                    <a:pt x="232" y="1129"/>
                  </a:lnTo>
                  <a:lnTo>
                    <a:pt x="232" y="1125"/>
                  </a:lnTo>
                  <a:lnTo>
                    <a:pt x="230" y="1122"/>
                  </a:lnTo>
                  <a:lnTo>
                    <a:pt x="227" y="1121"/>
                  </a:lnTo>
                  <a:lnTo>
                    <a:pt x="226" y="1120"/>
                  </a:lnTo>
                  <a:lnTo>
                    <a:pt x="223" y="1118"/>
                  </a:lnTo>
                  <a:lnTo>
                    <a:pt x="222" y="1118"/>
                  </a:lnTo>
                  <a:lnTo>
                    <a:pt x="216" y="1118"/>
                  </a:lnTo>
                  <a:lnTo>
                    <a:pt x="203" y="1115"/>
                  </a:lnTo>
                  <a:lnTo>
                    <a:pt x="183" y="1111"/>
                  </a:lnTo>
                  <a:lnTo>
                    <a:pt x="158" y="1106"/>
                  </a:lnTo>
                  <a:lnTo>
                    <a:pt x="131" y="1100"/>
                  </a:lnTo>
                  <a:lnTo>
                    <a:pt x="103" y="1092"/>
                  </a:lnTo>
                  <a:lnTo>
                    <a:pt x="74" y="1084"/>
                  </a:lnTo>
                  <a:lnTo>
                    <a:pt x="47" y="1074"/>
                  </a:lnTo>
                  <a:lnTo>
                    <a:pt x="23" y="1063"/>
                  </a:lnTo>
                  <a:lnTo>
                    <a:pt x="12" y="1055"/>
                  </a:lnTo>
                  <a:lnTo>
                    <a:pt x="3" y="1042"/>
                  </a:lnTo>
                  <a:lnTo>
                    <a:pt x="0" y="1029"/>
                  </a:lnTo>
                  <a:lnTo>
                    <a:pt x="3" y="1012"/>
                  </a:lnTo>
                  <a:lnTo>
                    <a:pt x="26" y="947"/>
                  </a:lnTo>
                  <a:lnTo>
                    <a:pt x="33" y="935"/>
                  </a:lnTo>
                  <a:lnTo>
                    <a:pt x="44" y="925"/>
                  </a:lnTo>
                  <a:lnTo>
                    <a:pt x="57" y="919"/>
                  </a:lnTo>
                  <a:lnTo>
                    <a:pt x="72" y="916"/>
                  </a:lnTo>
                  <a:lnTo>
                    <a:pt x="79" y="917"/>
                  </a:lnTo>
                  <a:lnTo>
                    <a:pt x="85" y="919"/>
                  </a:lnTo>
                  <a:lnTo>
                    <a:pt x="92" y="921"/>
                  </a:lnTo>
                  <a:lnTo>
                    <a:pt x="96" y="923"/>
                  </a:lnTo>
                  <a:lnTo>
                    <a:pt x="105" y="927"/>
                  </a:lnTo>
                  <a:lnTo>
                    <a:pt x="119" y="932"/>
                  </a:lnTo>
                  <a:lnTo>
                    <a:pt x="136" y="939"/>
                  </a:lnTo>
                  <a:lnTo>
                    <a:pt x="157" y="946"/>
                  </a:lnTo>
                  <a:lnTo>
                    <a:pt x="181" y="954"/>
                  </a:lnTo>
                  <a:lnTo>
                    <a:pt x="205" y="961"/>
                  </a:lnTo>
                  <a:lnTo>
                    <a:pt x="230" y="967"/>
                  </a:lnTo>
                  <a:lnTo>
                    <a:pt x="256" y="971"/>
                  </a:lnTo>
                  <a:lnTo>
                    <a:pt x="280" y="972"/>
                  </a:lnTo>
                  <a:lnTo>
                    <a:pt x="318" y="969"/>
                  </a:lnTo>
                  <a:lnTo>
                    <a:pt x="353" y="960"/>
                  </a:lnTo>
                  <a:lnTo>
                    <a:pt x="382" y="946"/>
                  </a:lnTo>
                  <a:lnTo>
                    <a:pt x="405" y="928"/>
                  </a:lnTo>
                  <a:lnTo>
                    <a:pt x="423" y="906"/>
                  </a:lnTo>
                  <a:lnTo>
                    <a:pt x="434" y="880"/>
                  </a:lnTo>
                  <a:lnTo>
                    <a:pt x="438" y="851"/>
                  </a:lnTo>
                  <a:lnTo>
                    <a:pt x="436" y="824"/>
                  </a:lnTo>
                  <a:lnTo>
                    <a:pt x="426" y="800"/>
                  </a:lnTo>
                  <a:lnTo>
                    <a:pt x="411" y="777"/>
                  </a:lnTo>
                  <a:lnTo>
                    <a:pt x="390" y="756"/>
                  </a:lnTo>
                  <a:lnTo>
                    <a:pt x="361" y="735"/>
                  </a:lnTo>
                  <a:lnTo>
                    <a:pt x="324" y="716"/>
                  </a:lnTo>
                  <a:lnTo>
                    <a:pt x="280" y="697"/>
                  </a:lnTo>
                  <a:lnTo>
                    <a:pt x="243" y="682"/>
                  </a:lnTo>
                  <a:lnTo>
                    <a:pt x="205" y="665"/>
                  </a:lnTo>
                  <a:lnTo>
                    <a:pt x="170" y="647"/>
                  </a:lnTo>
                  <a:lnTo>
                    <a:pt x="136" y="628"/>
                  </a:lnTo>
                  <a:lnTo>
                    <a:pt x="106" y="607"/>
                  </a:lnTo>
                  <a:lnTo>
                    <a:pt x="79" y="583"/>
                  </a:lnTo>
                  <a:lnTo>
                    <a:pt x="55" y="556"/>
                  </a:lnTo>
                  <a:lnTo>
                    <a:pt x="36" y="526"/>
                  </a:lnTo>
                  <a:lnTo>
                    <a:pt x="22" y="493"/>
                  </a:lnTo>
                  <a:lnTo>
                    <a:pt x="12" y="456"/>
                  </a:lnTo>
                  <a:lnTo>
                    <a:pt x="10" y="416"/>
                  </a:lnTo>
                  <a:lnTo>
                    <a:pt x="12" y="375"/>
                  </a:lnTo>
                  <a:lnTo>
                    <a:pt x="22" y="336"/>
                  </a:lnTo>
                  <a:lnTo>
                    <a:pt x="37" y="300"/>
                  </a:lnTo>
                  <a:lnTo>
                    <a:pt x="58" y="267"/>
                  </a:lnTo>
                  <a:lnTo>
                    <a:pt x="83" y="237"/>
                  </a:lnTo>
                  <a:lnTo>
                    <a:pt x="113" y="211"/>
                  </a:lnTo>
                  <a:lnTo>
                    <a:pt x="149" y="189"/>
                  </a:lnTo>
                  <a:lnTo>
                    <a:pt x="187" y="171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6" y="156"/>
                  </a:lnTo>
                  <a:lnTo>
                    <a:pt x="238" y="154"/>
                  </a:lnTo>
                  <a:lnTo>
                    <a:pt x="240" y="151"/>
                  </a:lnTo>
                  <a:lnTo>
                    <a:pt x="243" y="149"/>
                  </a:lnTo>
                  <a:lnTo>
                    <a:pt x="243" y="146"/>
                  </a:lnTo>
                  <a:lnTo>
                    <a:pt x="243" y="50"/>
                  </a:lnTo>
                  <a:lnTo>
                    <a:pt x="247" y="30"/>
                  </a:lnTo>
                  <a:lnTo>
                    <a:pt x="258" y="14"/>
                  </a:lnTo>
                  <a:lnTo>
                    <a:pt x="274" y="4"/>
                  </a:lnTo>
                  <a:lnTo>
                    <a:pt x="2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28" name="Freeform 15"/>
            <p:cNvSpPr>
              <a:spLocks noEditPoints="1"/>
            </p:cNvSpPr>
            <p:nvPr/>
          </p:nvSpPr>
          <p:spPr bwMode="auto">
            <a:xfrm>
              <a:off x="2814" y="1165"/>
              <a:ext cx="1202" cy="1201"/>
            </a:xfrm>
            <a:custGeom>
              <a:avLst/>
              <a:gdLst>
                <a:gd name="T0" fmla="*/ 1026 w 2403"/>
                <a:gd name="T1" fmla="*/ 296 h 2403"/>
                <a:gd name="T2" fmla="*/ 785 w 2403"/>
                <a:gd name="T3" fmla="*/ 379 h 2403"/>
                <a:gd name="T4" fmla="*/ 579 w 2403"/>
                <a:gd name="T5" fmla="*/ 521 h 2403"/>
                <a:gd name="T6" fmla="*/ 419 w 2403"/>
                <a:gd name="T7" fmla="*/ 712 h 2403"/>
                <a:gd name="T8" fmla="*/ 315 w 2403"/>
                <a:gd name="T9" fmla="*/ 942 h 2403"/>
                <a:gd name="T10" fmla="*/ 278 w 2403"/>
                <a:gd name="T11" fmla="*/ 1203 h 2403"/>
                <a:gd name="T12" fmla="*/ 315 w 2403"/>
                <a:gd name="T13" fmla="*/ 1461 h 2403"/>
                <a:gd name="T14" fmla="*/ 419 w 2403"/>
                <a:gd name="T15" fmla="*/ 1691 h 2403"/>
                <a:gd name="T16" fmla="*/ 579 w 2403"/>
                <a:gd name="T17" fmla="*/ 1883 h 2403"/>
                <a:gd name="T18" fmla="*/ 785 w 2403"/>
                <a:gd name="T19" fmla="*/ 2026 h 2403"/>
                <a:gd name="T20" fmla="*/ 1026 w 2403"/>
                <a:gd name="T21" fmla="*/ 2107 h 2403"/>
                <a:gd name="T22" fmla="*/ 1291 w 2403"/>
                <a:gd name="T23" fmla="*/ 2120 h 2403"/>
                <a:gd name="T24" fmla="*/ 1542 w 2403"/>
                <a:gd name="T25" fmla="*/ 2061 h 2403"/>
                <a:gd name="T26" fmla="*/ 1760 w 2403"/>
                <a:gd name="T27" fmla="*/ 1937 h 2403"/>
                <a:gd name="T28" fmla="*/ 1936 w 2403"/>
                <a:gd name="T29" fmla="*/ 1760 h 2403"/>
                <a:gd name="T30" fmla="*/ 2060 w 2403"/>
                <a:gd name="T31" fmla="*/ 1541 h 2403"/>
                <a:gd name="T32" fmla="*/ 2121 w 2403"/>
                <a:gd name="T33" fmla="*/ 1291 h 2403"/>
                <a:gd name="T34" fmla="*/ 2108 w 2403"/>
                <a:gd name="T35" fmla="*/ 1026 h 2403"/>
                <a:gd name="T36" fmla="*/ 2026 w 2403"/>
                <a:gd name="T37" fmla="*/ 785 h 2403"/>
                <a:gd name="T38" fmla="*/ 1884 w 2403"/>
                <a:gd name="T39" fmla="*/ 580 h 2403"/>
                <a:gd name="T40" fmla="*/ 1692 w 2403"/>
                <a:gd name="T41" fmla="*/ 420 h 2403"/>
                <a:gd name="T42" fmla="*/ 1461 w 2403"/>
                <a:gd name="T43" fmla="*/ 316 h 2403"/>
                <a:gd name="T44" fmla="*/ 1201 w 2403"/>
                <a:gd name="T45" fmla="*/ 280 h 2403"/>
                <a:gd name="T46" fmla="*/ 1396 w 2403"/>
                <a:gd name="T47" fmla="*/ 17 h 2403"/>
                <a:gd name="T48" fmla="*/ 1669 w 2403"/>
                <a:gd name="T49" fmla="*/ 95 h 2403"/>
                <a:gd name="T50" fmla="*/ 1911 w 2403"/>
                <a:gd name="T51" fmla="*/ 233 h 2403"/>
                <a:gd name="T52" fmla="*/ 2114 w 2403"/>
                <a:gd name="T53" fmla="*/ 420 h 2403"/>
                <a:gd name="T54" fmla="*/ 2270 w 2403"/>
                <a:gd name="T55" fmla="*/ 650 h 2403"/>
                <a:gd name="T56" fmla="*/ 2369 w 2403"/>
                <a:gd name="T57" fmla="*/ 913 h 2403"/>
                <a:gd name="T58" fmla="*/ 2403 w 2403"/>
                <a:gd name="T59" fmla="*/ 1203 h 2403"/>
                <a:gd name="T60" fmla="*/ 2369 w 2403"/>
                <a:gd name="T61" fmla="*/ 1490 h 2403"/>
                <a:gd name="T62" fmla="*/ 2270 w 2403"/>
                <a:gd name="T63" fmla="*/ 1753 h 2403"/>
                <a:gd name="T64" fmla="*/ 2114 w 2403"/>
                <a:gd name="T65" fmla="*/ 1983 h 2403"/>
                <a:gd name="T66" fmla="*/ 1911 w 2403"/>
                <a:gd name="T67" fmla="*/ 2171 h 2403"/>
                <a:gd name="T68" fmla="*/ 1669 w 2403"/>
                <a:gd name="T69" fmla="*/ 2308 h 2403"/>
                <a:gd name="T70" fmla="*/ 1396 w 2403"/>
                <a:gd name="T71" fmla="*/ 2387 h 2403"/>
                <a:gd name="T72" fmla="*/ 1102 w 2403"/>
                <a:gd name="T73" fmla="*/ 2399 h 2403"/>
                <a:gd name="T74" fmla="*/ 821 w 2403"/>
                <a:gd name="T75" fmla="*/ 2341 h 2403"/>
                <a:gd name="T76" fmla="*/ 569 w 2403"/>
                <a:gd name="T77" fmla="*/ 2223 h 2403"/>
                <a:gd name="T78" fmla="*/ 351 w 2403"/>
                <a:gd name="T79" fmla="*/ 2051 h 2403"/>
                <a:gd name="T80" fmla="*/ 180 w 2403"/>
                <a:gd name="T81" fmla="*/ 1835 h 2403"/>
                <a:gd name="T82" fmla="*/ 60 w 2403"/>
                <a:gd name="T83" fmla="*/ 1581 h 2403"/>
                <a:gd name="T84" fmla="*/ 4 w 2403"/>
                <a:gd name="T85" fmla="*/ 1300 h 2403"/>
                <a:gd name="T86" fmla="*/ 15 w 2403"/>
                <a:gd name="T87" fmla="*/ 1007 h 2403"/>
                <a:gd name="T88" fmla="*/ 93 w 2403"/>
                <a:gd name="T89" fmla="*/ 734 h 2403"/>
                <a:gd name="T90" fmla="*/ 231 w 2403"/>
                <a:gd name="T91" fmla="*/ 492 h 2403"/>
                <a:gd name="T92" fmla="*/ 419 w 2403"/>
                <a:gd name="T93" fmla="*/ 290 h 2403"/>
                <a:gd name="T94" fmla="*/ 649 w 2403"/>
                <a:gd name="T95" fmla="*/ 135 h 2403"/>
                <a:gd name="T96" fmla="*/ 912 w 2403"/>
                <a:gd name="T97" fmla="*/ 36 h 2403"/>
                <a:gd name="T98" fmla="*/ 1201 w 2403"/>
                <a:gd name="T99" fmla="*/ 0 h 2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03" h="2403">
                  <a:moveTo>
                    <a:pt x="1201" y="280"/>
                  </a:moveTo>
                  <a:lnTo>
                    <a:pt x="1112" y="284"/>
                  </a:lnTo>
                  <a:lnTo>
                    <a:pt x="1026" y="296"/>
                  </a:lnTo>
                  <a:lnTo>
                    <a:pt x="942" y="316"/>
                  </a:lnTo>
                  <a:lnTo>
                    <a:pt x="861" y="343"/>
                  </a:lnTo>
                  <a:lnTo>
                    <a:pt x="785" y="379"/>
                  </a:lnTo>
                  <a:lnTo>
                    <a:pt x="711" y="420"/>
                  </a:lnTo>
                  <a:lnTo>
                    <a:pt x="643" y="467"/>
                  </a:lnTo>
                  <a:lnTo>
                    <a:pt x="579" y="521"/>
                  </a:lnTo>
                  <a:lnTo>
                    <a:pt x="519" y="580"/>
                  </a:lnTo>
                  <a:lnTo>
                    <a:pt x="467" y="643"/>
                  </a:lnTo>
                  <a:lnTo>
                    <a:pt x="419" y="712"/>
                  </a:lnTo>
                  <a:lnTo>
                    <a:pt x="377" y="785"/>
                  </a:lnTo>
                  <a:lnTo>
                    <a:pt x="343" y="862"/>
                  </a:lnTo>
                  <a:lnTo>
                    <a:pt x="315" y="942"/>
                  </a:lnTo>
                  <a:lnTo>
                    <a:pt x="295" y="1026"/>
                  </a:lnTo>
                  <a:lnTo>
                    <a:pt x="282" y="1113"/>
                  </a:lnTo>
                  <a:lnTo>
                    <a:pt x="278" y="1203"/>
                  </a:lnTo>
                  <a:lnTo>
                    <a:pt x="282" y="1291"/>
                  </a:lnTo>
                  <a:lnTo>
                    <a:pt x="295" y="1377"/>
                  </a:lnTo>
                  <a:lnTo>
                    <a:pt x="315" y="1461"/>
                  </a:lnTo>
                  <a:lnTo>
                    <a:pt x="343" y="1541"/>
                  </a:lnTo>
                  <a:lnTo>
                    <a:pt x="377" y="1618"/>
                  </a:lnTo>
                  <a:lnTo>
                    <a:pt x="419" y="1691"/>
                  </a:lnTo>
                  <a:lnTo>
                    <a:pt x="467" y="1760"/>
                  </a:lnTo>
                  <a:lnTo>
                    <a:pt x="519" y="1824"/>
                  </a:lnTo>
                  <a:lnTo>
                    <a:pt x="579" y="1883"/>
                  </a:lnTo>
                  <a:lnTo>
                    <a:pt x="643" y="1937"/>
                  </a:lnTo>
                  <a:lnTo>
                    <a:pt x="711" y="1985"/>
                  </a:lnTo>
                  <a:lnTo>
                    <a:pt x="785" y="2026"/>
                  </a:lnTo>
                  <a:lnTo>
                    <a:pt x="861" y="2061"/>
                  </a:lnTo>
                  <a:lnTo>
                    <a:pt x="942" y="2088"/>
                  </a:lnTo>
                  <a:lnTo>
                    <a:pt x="1026" y="2107"/>
                  </a:lnTo>
                  <a:lnTo>
                    <a:pt x="1112" y="2120"/>
                  </a:lnTo>
                  <a:lnTo>
                    <a:pt x="1201" y="2125"/>
                  </a:lnTo>
                  <a:lnTo>
                    <a:pt x="1291" y="2120"/>
                  </a:lnTo>
                  <a:lnTo>
                    <a:pt x="1376" y="2107"/>
                  </a:lnTo>
                  <a:lnTo>
                    <a:pt x="1461" y="2088"/>
                  </a:lnTo>
                  <a:lnTo>
                    <a:pt x="1542" y="2061"/>
                  </a:lnTo>
                  <a:lnTo>
                    <a:pt x="1618" y="2026"/>
                  </a:lnTo>
                  <a:lnTo>
                    <a:pt x="1692" y="1985"/>
                  </a:lnTo>
                  <a:lnTo>
                    <a:pt x="1760" y="1937"/>
                  </a:lnTo>
                  <a:lnTo>
                    <a:pt x="1824" y="1883"/>
                  </a:lnTo>
                  <a:lnTo>
                    <a:pt x="1884" y="1824"/>
                  </a:lnTo>
                  <a:lnTo>
                    <a:pt x="1936" y="1760"/>
                  </a:lnTo>
                  <a:lnTo>
                    <a:pt x="1984" y="1691"/>
                  </a:lnTo>
                  <a:lnTo>
                    <a:pt x="2026" y="1618"/>
                  </a:lnTo>
                  <a:lnTo>
                    <a:pt x="2060" y="1541"/>
                  </a:lnTo>
                  <a:lnTo>
                    <a:pt x="2088" y="1461"/>
                  </a:lnTo>
                  <a:lnTo>
                    <a:pt x="2108" y="1377"/>
                  </a:lnTo>
                  <a:lnTo>
                    <a:pt x="2121" y="1291"/>
                  </a:lnTo>
                  <a:lnTo>
                    <a:pt x="2125" y="1203"/>
                  </a:lnTo>
                  <a:lnTo>
                    <a:pt x="2121" y="1113"/>
                  </a:lnTo>
                  <a:lnTo>
                    <a:pt x="2108" y="1026"/>
                  </a:lnTo>
                  <a:lnTo>
                    <a:pt x="2088" y="942"/>
                  </a:lnTo>
                  <a:lnTo>
                    <a:pt x="2060" y="862"/>
                  </a:lnTo>
                  <a:lnTo>
                    <a:pt x="2026" y="785"/>
                  </a:lnTo>
                  <a:lnTo>
                    <a:pt x="1984" y="712"/>
                  </a:lnTo>
                  <a:lnTo>
                    <a:pt x="1936" y="643"/>
                  </a:lnTo>
                  <a:lnTo>
                    <a:pt x="1884" y="580"/>
                  </a:lnTo>
                  <a:lnTo>
                    <a:pt x="1824" y="521"/>
                  </a:lnTo>
                  <a:lnTo>
                    <a:pt x="1760" y="467"/>
                  </a:lnTo>
                  <a:lnTo>
                    <a:pt x="1692" y="420"/>
                  </a:lnTo>
                  <a:lnTo>
                    <a:pt x="1618" y="379"/>
                  </a:lnTo>
                  <a:lnTo>
                    <a:pt x="1542" y="343"/>
                  </a:lnTo>
                  <a:lnTo>
                    <a:pt x="1461" y="316"/>
                  </a:lnTo>
                  <a:lnTo>
                    <a:pt x="1376" y="296"/>
                  </a:lnTo>
                  <a:lnTo>
                    <a:pt x="1291" y="284"/>
                  </a:lnTo>
                  <a:lnTo>
                    <a:pt x="1201" y="280"/>
                  </a:lnTo>
                  <a:close/>
                  <a:moveTo>
                    <a:pt x="1201" y="0"/>
                  </a:moveTo>
                  <a:lnTo>
                    <a:pt x="1301" y="5"/>
                  </a:lnTo>
                  <a:lnTo>
                    <a:pt x="1396" y="17"/>
                  </a:lnTo>
                  <a:lnTo>
                    <a:pt x="1491" y="36"/>
                  </a:lnTo>
                  <a:lnTo>
                    <a:pt x="1582" y="62"/>
                  </a:lnTo>
                  <a:lnTo>
                    <a:pt x="1669" y="95"/>
                  </a:lnTo>
                  <a:lnTo>
                    <a:pt x="1754" y="135"/>
                  </a:lnTo>
                  <a:lnTo>
                    <a:pt x="1834" y="181"/>
                  </a:lnTo>
                  <a:lnTo>
                    <a:pt x="1911" y="233"/>
                  </a:lnTo>
                  <a:lnTo>
                    <a:pt x="1984" y="290"/>
                  </a:lnTo>
                  <a:lnTo>
                    <a:pt x="2052" y="353"/>
                  </a:lnTo>
                  <a:lnTo>
                    <a:pt x="2114" y="420"/>
                  </a:lnTo>
                  <a:lnTo>
                    <a:pt x="2172" y="492"/>
                  </a:lnTo>
                  <a:lnTo>
                    <a:pt x="2223" y="569"/>
                  </a:lnTo>
                  <a:lnTo>
                    <a:pt x="2270" y="650"/>
                  </a:lnTo>
                  <a:lnTo>
                    <a:pt x="2310" y="734"/>
                  </a:lnTo>
                  <a:lnTo>
                    <a:pt x="2343" y="823"/>
                  </a:lnTo>
                  <a:lnTo>
                    <a:pt x="2369" y="913"/>
                  </a:lnTo>
                  <a:lnTo>
                    <a:pt x="2388" y="1007"/>
                  </a:lnTo>
                  <a:lnTo>
                    <a:pt x="2399" y="1103"/>
                  </a:lnTo>
                  <a:lnTo>
                    <a:pt x="2403" y="1203"/>
                  </a:lnTo>
                  <a:lnTo>
                    <a:pt x="2399" y="1300"/>
                  </a:lnTo>
                  <a:lnTo>
                    <a:pt x="2388" y="1397"/>
                  </a:lnTo>
                  <a:lnTo>
                    <a:pt x="2369" y="1490"/>
                  </a:lnTo>
                  <a:lnTo>
                    <a:pt x="2343" y="1581"/>
                  </a:lnTo>
                  <a:lnTo>
                    <a:pt x="2310" y="1669"/>
                  </a:lnTo>
                  <a:lnTo>
                    <a:pt x="2270" y="1753"/>
                  </a:lnTo>
                  <a:lnTo>
                    <a:pt x="2223" y="1835"/>
                  </a:lnTo>
                  <a:lnTo>
                    <a:pt x="2172" y="1912"/>
                  </a:lnTo>
                  <a:lnTo>
                    <a:pt x="2114" y="1983"/>
                  </a:lnTo>
                  <a:lnTo>
                    <a:pt x="2052" y="2051"/>
                  </a:lnTo>
                  <a:lnTo>
                    <a:pt x="1984" y="2114"/>
                  </a:lnTo>
                  <a:lnTo>
                    <a:pt x="1911" y="2171"/>
                  </a:lnTo>
                  <a:lnTo>
                    <a:pt x="1834" y="2223"/>
                  </a:lnTo>
                  <a:lnTo>
                    <a:pt x="1754" y="2268"/>
                  </a:lnTo>
                  <a:lnTo>
                    <a:pt x="1669" y="2308"/>
                  </a:lnTo>
                  <a:lnTo>
                    <a:pt x="1582" y="2341"/>
                  </a:lnTo>
                  <a:lnTo>
                    <a:pt x="1491" y="2368"/>
                  </a:lnTo>
                  <a:lnTo>
                    <a:pt x="1396" y="2387"/>
                  </a:lnTo>
                  <a:lnTo>
                    <a:pt x="1301" y="2399"/>
                  </a:lnTo>
                  <a:lnTo>
                    <a:pt x="1201" y="2403"/>
                  </a:lnTo>
                  <a:lnTo>
                    <a:pt x="1102" y="2399"/>
                  </a:lnTo>
                  <a:lnTo>
                    <a:pt x="1007" y="2387"/>
                  </a:lnTo>
                  <a:lnTo>
                    <a:pt x="912" y="2368"/>
                  </a:lnTo>
                  <a:lnTo>
                    <a:pt x="821" y="2341"/>
                  </a:lnTo>
                  <a:lnTo>
                    <a:pt x="734" y="2308"/>
                  </a:lnTo>
                  <a:lnTo>
                    <a:pt x="649" y="2268"/>
                  </a:lnTo>
                  <a:lnTo>
                    <a:pt x="569" y="2223"/>
                  </a:lnTo>
                  <a:lnTo>
                    <a:pt x="492" y="2171"/>
                  </a:lnTo>
                  <a:lnTo>
                    <a:pt x="419" y="2114"/>
                  </a:lnTo>
                  <a:lnTo>
                    <a:pt x="351" y="2051"/>
                  </a:lnTo>
                  <a:lnTo>
                    <a:pt x="289" y="1983"/>
                  </a:lnTo>
                  <a:lnTo>
                    <a:pt x="231" y="1912"/>
                  </a:lnTo>
                  <a:lnTo>
                    <a:pt x="180" y="1835"/>
                  </a:lnTo>
                  <a:lnTo>
                    <a:pt x="133" y="1753"/>
                  </a:lnTo>
                  <a:lnTo>
                    <a:pt x="93" y="1669"/>
                  </a:lnTo>
                  <a:lnTo>
                    <a:pt x="60" y="1581"/>
                  </a:lnTo>
                  <a:lnTo>
                    <a:pt x="34" y="1490"/>
                  </a:lnTo>
                  <a:lnTo>
                    <a:pt x="15" y="1397"/>
                  </a:lnTo>
                  <a:lnTo>
                    <a:pt x="4" y="1300"/>
                  </a:lnTo>
                  <a:lnTo>
                    <a:pt x="0" y="1203"/>
                  </a:lnTo>
                  <a:lnTo>
                    <a:pt x="4" y="1103"/>
                  </a:lnTo>
                  <a:lnTo>
                    <a:pt x="15" y="1007"/>
                  </a:lnTo>
                  <a:lnTo>
                    <a:pt x="34" y="913"/>
                  </a:lnTo>
                  <a:lnTo>
                    <a:pt x="60" y="823"/>
                  </a:lnTo>
                  <a:lnTo>
                    <a:pt x="93" y="734"/>
                  </a:lnTo>
                  <a:lnTo>
                    <a:pt x="133" y="650"/>
                  </a:lnTo>
                  <a:lnTo>
                    <a:pt x="180" y="569"/>
                  </a:lnTo>
                  <a:lnTo>
                    <a:pt x="231" y="492"/>
                  </a:lnTo>
                  <a:lnTo>
                    <a:pt x="289" y="420"/>
                  </a:lnTo>
                  <a:lnTo>
                    <a:pt x="351" y="353"/>
                  </a:lnTo>
                  <a:lnTo>
                    <a:pt x="419" y="290"/>
                  </a:lnTo>
                  <a:lnTo>
                    <a:pt x="492" y="233"/>
                  </a:lnTo>
                  <a:lnTo>
                    <a:pt x="569" y="181"/>
                  </a:lnTo>
                  <a:lnTo>
                    <a:pt x="649" y="135"/>
                  </a:lnTo>
                  <a:lnTo>
                    <a:pt x="734" y="95"/>
                  </a:lnTo>
                  <a:lnTo>
                    <a:pt x="821" y="62"/>
                  </a:lnTo>
                  <a:lnTo>
                    <a:pt x="912" y="36"/>
                  </a:lnTo>
                  <a:lnTo>
                    <a:pt x="1007" y="17"/>
                  </a:lnTo>
                  <a:lnTo>
                    <a:pt x="1102" y="5"/>
                  </a:lnTo>
                  <a:lnTo>
                    <a:pt x="1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30" name="Freeform 16"/>
            <p:cNvSpPr>
              <a:spLocks/>
            </p:cNvSpPr>
            <p:nvPr/>
          </p:nvSpPr>
          <p:spPr bwMode="auto">
            <a:xfrm>
              <a:off x="2367" y="2423"/>
              <a:ext cx="1647" cy="725"/>
            </a:xfrm>
            <a:custGeom>
              <a:avLst/>
              <a:gdLst>
                <a:gd name="T0" fmla="*/ 1042 w 3293"/>
                <a:gd name="T1" fmla="*/ 18 h 1448"/>
                <a:gd name="T2" fmla="*/ 1294 w 3293"/>
                <a:gd name="T3" fmla="*/ 74 h 1448"/>
                <a:gd name="T4" fmla="*/ 1565 w 3293"/>
                <a:gd name="T5" fmla="*/ 150 h 1448"/>
                <a:gd name="T6" fmla="*/ 1817 w 3293"/>
                <a:gd name="T7" fmla="*/ 230 h 1448"/>
                <a:gd name="T8" fmla="*/ 2012 w 3293"/>
                <a:gd name="T9" fmla="*/ 292 h 1448"/>
                <a:gd name="T10" fmla="*/ 2119 w 3293"/>
                <a:gd name="T11" fmla="*/ 323 h 1448"/>
                <a:gd name="T12" fmla="*/ 2185 w 3293"/>
                <a:gd name="T13" fmla="*/ 389 h 1448"/>
                <a:gd name="T14" fmla="*/ 2194 w 3293"/>
                <a:gd name="T15" fmla="*/ 486 h 1448"/>
                <a:gd name="T16" fmla="*/ 2129 w 3293"/>
                <a:gd name="T17" fmla="*/ 582 h 1448"/>
                <a:gd name="T18" fmla="*/ 1976 w 3293"/>
                <a:gd name="T19" fmla="*/ 641 h 1448"/>
                <a:gd name="T20" fmla="*/ 1775 w 3293"/>
                <a:gd name="T21" fmla="*/ 653 h 1448"/>
                <a:gd name="T22" fmla="*/ 1567 w 3293"/>
                <a:gd name="T23" fmla="*/ 632 h 1448"/>
                <a:gd name="T24" fmla="*/ 1381 w 3293"/>
                <a:gd name="T25" fmla="*/ 600 h 1448"/>
                <a:gd name="T26" fmla="*/ 1247 w 3293"/>
                <a:gd name="T27" fmla="*/ 577 h 1448"/>
                <a:gd name="T28" fmla="*/ 1196 w 3293"/>
                <a:gd name="T29" fmla="*/ 585 h 1448"/>
                <a:gd name="T30" fmla="*/ 1266 w 3293"/>
                <a:gd name="T31" fmla="*/ 669 h 1448"/>
                <a:gd name="T32" fmla="*/ 1444 w 3293"/>
                <a:gd name="T33" fmla="*/ 739 h 1448"/>
                <a:gd name="T34" fmla="*/ 1681 w 3293"/>
                <a:gd name="T35" fmla="*/ 786 h 1448"/>
                <a:gd name="T36" fmla="*/ 1929 w 3293"/>
                <a:gd name="T37" fmla="*/ 804 h 1448"/>
                <a:gd name="T38" fmla="*/ 2225 w 3293"/>
                <a:gd name="T39" fmla="*/ 770 h 1448"/>
                <a:gd name="T40" fmla="*/ 2730 w 3293"/>
                <a:gd name="T41" fmla="*/ 618 h 1448"/>
                <a:gd name="T42" fmla="*/ 3090 w 3293"/>
                <a:gd name="T43" fmla="*/ 450 h 1448"/>
                <a:gd name="T44" fmla="*/ 3219 w 3293"/>
                <a:gd name="T45" fmla="*/ 461 h 1448"/>
                <a:gd name="T46" fmla="*/ 3289 w 3293"/>
                <a:gd name="T47" fmla="*/ 563 h 1448"/>
                <a:gd name="T48" fmla="*/ 3258 w 3293"/>
                <a:gd name="T49" fmla="*/ 717 h 1448"/>
                <a:gd name="T50" fmla="*/ 3138 w 3293"/>
                <a:gd name="T51" fmla="*/ 845 h 1448"/>
                <a:gd name="T52" fmla="*/ 2972 w 3293"/>
                <a:gd name="T53" fmla="*/ 960 h 1448"/>
                <a:gd name="T54" fmla="*/ 2749 w 3293"/>
                <a:gd name="T55" fmla="*/ 1099 h 1448"/>
                <a:gd name="T56" fmla="*/ 2501 w 3293"/>
                <a:gd name="T57" fmla="*/ 1238 h 1448"/>
                <a:gd name="T58" fmla="*/ 2264 w 3293"/>
                <a:gd name="T59" fmla="*/ 1356 h 1448"/>
                <a:gd name="T60" fmla="*/ 2072 w 3293"/>
                <a:gd name="T61" fmla="*/ 1433 h 1448"/>
                <a:gd name="T62" fmla="*/ 1939 w 3293"/>
                <a:gd name="T63" fmla="*/ 1448 h 1448"/>
                <a:gd name="T64" fmla="*/ 1717 w 3293"/>
                <a:gd name="T65" fmla="*/ 1429 h 1448"/>
                <a:gd name="T66" fmla="*/ 1426 w 3293"/>
                <a:gd name="T67" fmla="*/ 1391 h 1448"/>
                <a:gd name="T68" fmla="*/ 1105 w 3293"/>
                <a:gd name="T69" fmla="*/ 1341 h 1448"/>
                <a:gd name="T70" fmla="*/ 796 w 3293"/>
                <a:gd name="T71" fmla="*/ 1289 h 1448"/>
                <a:gd name="T72" fmla="*/ 541 w 3293"/>
                <a:gd name="T73" fmla="*/ 1242 h 1448"/>
                <a:gd name="T74" fmla="*/ 380 w 3293"/>
                <a:gd name="T75" fmla="*/ 1212 h 1448"/>
                <a:gd name="T76" fmla="*/ 246 w 3293"/>
                <a:gd name="T77" fmla="*/ 1216 h 1448"/>
                <a:gd name="T78" fmla="*/ 107 w 3293"/>
                <a:gd name="T79" fmla="*/ 1296 h 1448"/>
                <a:gd name="T80" fmla="*/ 34 w 3293"/>
                <a:gd name="T81" fmla="*/ 1341 h 1448"/>
                <a:gd name="T82" fmla="*/ 7 w 3293"/>
                <a:gd name="T83" fmla="*/ 1316 h 1448"/>
                <a:gd name="T84" fmla="*/ 0 w 3293"/>
                <a:gd name="T85" fmla="*/ 1290 h 1448"/>
                <a:gd name="T86" fmla="*/ 22 w 3293"/>
                <a:gd name="T87" fmla="*/ 955 h 1448"/>
                <a:gd name="T88" fmla="*/ 46 w 3293"/>
                <a:gd name="T89" fmla="*/ 567 h 1448"/>
                <a:gd name="T90" fmla="*/ 69 w 3293"/>
                <a:gd name="T91" fmla="*/ 220 h 1448"/>
                <a:gd name="T92" fmla="*/ 92 w 3293"/>
                <a:gd name="T93" fmla="*/ 106 h 1448"/>
                <a:gd name="T94" fmla="*/ 157 w 3293"/>
                <a:gd name="T95" fmla="*/ 87 h 1448"/>
                <a:gd name="T96" fmla="*/ 330 w 3293"/>
                <a:gd name="T97" fmla="*/ 59 h 1448"/>
                <a:gd name="T98" fmla="*/ 576 w 3293"/>
                <a:gd name="T99" fmla="*/ 25 h 1448"/>
                <a:gd name="T100" fmla="*/ 803 w 3293"/>
                <a:gd name="T101" fmla="*/ 3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93" h="1448">
                  <a:moveTo>
                    <a:pt x="889" y="0"/>
                  </a:moveTo>
                  <a:lnTo>
                    <a:pt x="935" y="3"/>
                  </a:lnTo>
                  <a:lnTo>
                    <a:pt x="986" y="9"/>
                  </a:lnTo>
                  <a:lnTo>
                    <a:pt x="1042" y="18"/>
                  </a:lnTo>
                  <a:lnTo>
                    <a:pt x="1101" y="29"/>
                  </a:lnTo>
                  <a:lnTo>
                    <a:pt x="1163" y="42"/>
                  </a:lnTo>
                  <a:lnTo>
                    <a:pt x="1228" y="58"/>
                  </a:lnTo>
                  <a:lnTo>
                    <a:pt x="1294" y="74"/>
                  </a:lnTo>
                  <a:lnTo>
                    <a:pt x="1361" y="92"/>
                  </a:lnTo>
                  <a:lnTo>
                    <a:pt x="1430" y="111"/>
                  </a:lnTo>
                  <a:lnTo>
                    <a:pt x="1498" y="131"/>
                  </a:lnTo>
                  <a:lnTo>
                    <a:pt x="1565" y="150"/>
                  </a:lnTo>
                  <a:lnTo>
                    <a:pt x="1631" y="171"/>
                  </a:lnTo>
                  <a:lnTo>
                    <a:pt x="1696" y="191"/>
                  </a:lnTo>
                  <a:lnTo>
                    <a:pt x="1758" y="210"/>
                  </a:lnTo>
                  <a:lnTo>
                    <a:pt x="1817" y="230"/>
                  </a:lnTo>
                  <a:lnTo>
                    <a:pt x="1873" y="248"/>
                  </a:lnTo>
                  <a:lnTo>
                    <a:pt x="1924" y="264"/>
                  </a:lnTo>
                  <a:lnTo>
                    <a:pt x="1970" y="278"/>
                  </a:lnTo>
                  <a:lnTo>
                    <a:pt x="2012" y="292"/>
                  </a:lnTo>
                  <a:lnTo>
                    <a:pt x="2046" y="301"/>
                  </a:lnTo>
                  <a:lnTo>
                    <a:pt x="2075" y="310"/>
                  </a:lnTo>
                  <a:lnTo>
                    <a:pt x="2097" y="315"/>
                  </a:lnTo>
                  <a:lnTo>
                    <a:pt x="2119" y="323"/>
                  </a:lnTo>
                  <a:lnTo>
                    <a:pt x="2140" y="336"/>
                  </a:lnTo>
                  <a:lnTo>
                    <a:pt x="2158" y="351"/>
                  </a:lnTo>
                  <a:lnTo>
                    <a:pt x="2173" y="369"/>
                  </a:lnTo>
                  <a:lnTo>
                    <a:pt x="2185" y="389"/>
                  </a:lnTo>
                  <a:lnTo>
                    <a:pt x="2192" y="412"/>
                  </a:lnTo>
                  <a:lnTo>
                    <a:pt x="2198" y="436"/>
                  </a:lnTo>
                  <a:lnTo>
                    <a:pt x="2198" y="461"/>
                  </a:lnTo>
                  <a:lnTo>
                    <a:pt x="2194" y="486"/>
                  </a:lnTo>
                  <a:lnTo>
                    <a:pt x="2184" y="512"/>
                  </a:lnTo>
                  <a:lnTo>
                    <a:pt x="2172" y="537"/>
                  </a:lnTo>
                  <a:lnTo>
                    <a:pt x="2152" y="560"/>
                  </a:lnTo>
                  <a:lnTo>
                    <a:pt x="2129" y="582"/>
                  </a:lnTo>
                  <a:lnTo>
                    <a:pt x="2099" y="602"/>
                  </a:lnTo>
                  <a:lnTo>
                    <a:pt x="2063" y="618"/>
                  </a:lnTo>
                  <a:lnTo>
                    <a:pt x="2021" y="632"/>
                  </a:lnTo>
                  <a:lnTo>
                    <a:pt x="1976" y="641"/>
                  </a:lnTo>
                  <a:lnTo>
                    <a:pt x="1928" y="648"/>
                  </a:lnTo>
                  <a:lnTo>
                    <a:pt x="1878" y="653"/>
                  </a:lnTo>
                  <a:lnTo>
                    <a:pt x="1827" y="654"/>
                  </a:lnTo>
                  <a:lnTo>
                    <a:pt x="1775" y="653"/>
                  </a:lnTo>
                  <a:lnTo>
                    <a:pt x="1722" y="650"/>
                  </a:lnTo>
                  <a:lnTo>
                    <a:pt x="1669" y="646"/>
                  </a:lnTo>
                  <a:lnTo>
                    <a:pt x="1618" y="639"/>
                  </a:lnTo>
                  <a:lnTo>
                    <a:pt x="1567" y="632"/>
                  </a:lnTo>
                  <a:lnTo>
                    <a:pt x="1516" y="624"/>
                  </a:lnTo>
                  <a:lnTo>
                    <a:pt x="1469" y="615"/>
                  </a:lnTo>
                  <a:lnTo>
                    <a:pt x="1423" y="607"/>
                  </a:lnTo>
                  <a:lnTo>
                    <a:pt x="1381" y="600"/>
                  </a:lnTo>
                  <a:lnTo>
                    <a:pt x="1341" y="592"/>
                  </a:lnTo>
                  <a:lnTo>
                    <a:pt x="1305" y="586"/>
                  </a:lnTo>
                  <a:lnTo>
                    <a:pt x="1273" y="581"/>
                  </a:lnTo>
                  <a:lnTo>
                    <a:pt x="1247" y="577"/>
                  </a:lnTo>
                  <a:lnTo>
                    <a:pt x="1225" y="575"/>
                  </a:lnTo>
                  <a:lnTo>
                    <a:pt x="1210" y="575"/>
                  </a:lnTo>
                  <a:lnTo>
                    <a:pt x="1199" y="580"/>
                  </a:lnTo>
                  <a:lnTo>
                    <a:pt x="1196" y="585"/>
                  </a:lnTo>
                  <a:lnTo>
                    <a:pt x="1200" y="607"/>
                  </a:lnTo>
                  <a:lnTo>
                    <a:pt x="1214" y="628"/>
                  </a:lnTo>
                  <a:lnTo>
                    <a:pt x="1236" y="648"/>
                  </a:lnTo>
                  <a:lnTo>
                    <a:pt x="1266" y="669"/>
                  </a:lnTo>
                  <a:lnTo>
                    <a:pt x="1302" y="688"/>
                  </a:lnTo>
                  <a:lnTo>
                    <a:pt x="1345" y="706"/>
                  </a:lnTo>
                  <a:lnTo>
                    <a:pt x="1392" y="723"/>
                  </a:lnTo>
                  <a:lnTo>
                    <a:pt x="1444" y="739"/>
                  </a:lnTo>
                  <a:lnTo>
                    <a:pt x="1499" y="753"/>
                  </a:lnTo>
                  <a:lnTo>
                    <a:pt x="1558" y="765"/>
                  </a:lnTo>
                  <a:lnTo>
                    <a:pt x="1619" y="776"/>
                  </a:lnTo>
                  <a:lnTo>
                    <a:pt x="1681" y="786"/>
                  </a:lnTo>
                  <a:lnTo>
                    <a:pt x="1744" y="794"/>
                  </a:lnTo>
                  <a:lnTo>
                    <a:pt x="1806" y="800"/>
                  </a:lnTo>
                  <a:lnTo>
                    <a:pt x="1868" y="803"/>
                  </a:lnTo>
                  <a:lnTo>
                    <a:pt x="1929" y="804"/>
                  </a:lnTo>
                  <a:lnTo>
                    <a:pt x="1988" y="803"/>
                  </a:lnTo>
                  <a:lnTo>
                    <a:pt x="2043" y="800"/>
                  </a:lnTo>
                  <a:lnTo>
                    <a:pt x="2094" y="793"/>
                  </a:lnTo>
                  <a:lnTo>
                    <a:pt x="2225" y="770"/>
                  </a:lnTo>
                  <a:lnTo>
                    <a:pt x="2356" y="739"/>
                  </a:lnTo>
                  <a:lnTo>
                    <a:pt x="2484" y="703"/>
                  </a:lnTo>
                  <a:lnTo>
                    <a:pt x="2609" y="662"/>
                  </a:lnTo>
                  <a:lnTo>
                    <a:pt x="2730" y="618"/>
                  </a:lnTo>
                  <a:lnTo>
                    <a:pt x="2844" y="570"/>
                  </a:lnTo>
                  <a:lnTo>
                    <a:pt x="2952" y="519"/>
                  </a:lnTo>
                  <a:lnTo>
                    <a:pt x="3052" y="467"/>
                  </a:lnTo>
                  <a:lnTo>
                    <a:pt x="3090" y="450"/>
                  </a:lnTo>
                  <a:lnTo>
                    <a:pt x="3125" y="443"/>
                  </a:lnTo>
                  <a:lnTo>
                    <a:pt x="3158" y="442"/>
                  </a:lnTo>
                  <a:lnTo>
                    <a:pt x="3190" y="449"/>
                  </a:lnTo>
                  <a:lnTo>
                    <a:pt x="3219" y="461"/>
                  </a:lnTo>
                  <a:lnTo>
                    <a:pt x="3244" y="479"/>
                  </a:lnTo>
                  <a:lnTo>
                    <a:pt x="3265" y="502"/>
                  </a:lnTo>
                  <a:lnTo>
                    <a:pt x="3280" y="531"/>
                  </a:lnTo>
                  <a:lnTo>
                    <a:pt x="3289" y="563"/>
                  </a:lnTo>
                  <a:lnTo>
                    <a:pt x="3293" y="597"/>
                  </a:lnTo>
                  <a:lnTo>
                    <a:pt x="3289" y="636"/>
                  </a:lnTo>
                  <a:lnTo>
                    <a:pt x="3277" y="676"/>
                  </a:lnTo>
                  <a:lnTo>
                    <a:pt x="3258" y="717"/>
                  </a:lnTo>
                  <a:lnTo>
                    <a:pt x="3227" y="760"/>
                  </a:lnTo>
                  <a:lnTo>
                    <a:pt x="3189" y="803"/>
                  </a:lnTo>
                  <a:lnTo>
                    <a:pt x="3167" y="822"/>
                  </a:lnTo>
                  <a:lnTo>
                    <a:pt x="3138" y="845"/>
                  </a:lnTo>
                  <a:lnTo>
                    <a:pt x="3105" y="870"/>
                  </a:lnTo>
                  <a:lnTo>
                    <a:pt x="3065" y="898"/>
                  </a:lnTo>
                  <a:lnTo>
                    <a:pt x="3021" y="928"/>
                  </a:lnTo>
                  <a:lnTo>
                    <a:pt x="2972" y="960"/>
                  </a:lnTo>
                  <a:lnTo>
                    <a:pt x="2921" y="994"/>
                  </a:lnTo>
                  <a:lnTo>
                    <a:pt x="2866" y="1027"/>
                  </a:lnTo>
                  <a:lnTo>
                    <a:pt x="2808" y="1063"/>
                  </a:lnTo>
                  <a:lnTo>
                    <a:pt x="2749" y="1099"/>
                  </a:lnTo>
                  <a:lnTo>
                    <a:pt x="2688" y="1134"/>
                  </a:lnTo>
                  <a:lnTo>
                    <a:pt x="2626" y="1169"/>
                  </a:lnTo>
                  <a:lnTo>
                    <a:pt x="2563" y="1203"/>
                  </a:lnTo>
                  <a:lnTo>
                    <a:pt x="2501" y="1238"/>
                  </a:lnTo>
                  <a:lnTo>
                    <a:pt x="2439" y="1271"/>
                  </a:lnTo>
                  <a:lnTo>
                    <a:pt x="2380" y="1301"/>
                  </a:lnTo>
                  <a:lnTo>
                    <a:pt x="2320" y="1330"/>
                  </a:lnTo>
                  <a:lnTo>
                    <a:pt x="2264" y="1356"/>
                  </a:lnTo>
                  <a:lnTo>
                    <a:pt x="2210" y="1381"/>
                  </a:lnTo>
                  <a:lnTo>
                    <a:pt x="2161" y="1402"/>
                  </a:lnTo>
                  <a:lnTo>
                    <a:pt x="2114" y="1420"/>
                  </a:lnTo>
                  <a:lnTo>
                    <a:pt x="2072" y="1433"/>
                  </a:lnTo>
                  <a:lnTo>
                    <a:pt x="2035" y="1443"/>
                  </a:lnTo>
                  <a:lnTo>
                    <a:pt x="2010" y="1447"/>
                  </a:lnTo>
                  <a:lnTo>
                    <a:pt x="1979" y="1448"/>
                  </a:lnTo>
                  <a:lnTo>
                    <a:pt x="1939" y="1448"/>
                  </a:lnTo>
                  <a:lnTo>
                    <a:pt x="1892" y="1446"/>
                  </a:lnTo>
                  <a:lnTo>
                    <a:pt x="1840" y="1442"/>
                  </a:lnTo>
                  <a:lnTo>
                    <a:pt x="1780" y="1436"/>
                  </a:lnTo>
                  <a:lnTo>
                    <a:pt x="1717" y="1429"/>
                  </a:lnTo>
                  <a:lnTo>
                    <a:pt x="1649" y="1421"/>
                  </a:lnTo>
                  <a:lnTo>
                    <a:pt x="1578" y="1413"/>
                  </a:lnTo>
                  <a:lnTo>
                    <a:pt x="1503" y="1402"/>
                  </a:lnTo>
                  <a:lnTo>
                    <a:pt x="1426" y="1391"/>
                  </a:lnTo>
                  <a:lnTo>
                    <a:pt x="1346" y="1380"/>
                  </a:lnTo>
                  <a:lnTo>
                    <a:pt x="1266" y="1367"/>
                  </a:lnTo>
                  <a:lnTo>
                    <a:pt x="1186" y="1355"/>
                  </a:lnTo>
                  <a:lnTo>
                    <a:pt x="1105" y="1341"/>
                  </a:lnTo>
                  <a:lnTo>
                    <a:pt x="1025" y="1329"/>
                  </a:lnTo>
                  <a:lnTo>
                    <a:pt x="946" y="1315"/>
                  </a:lnTo>
                  <a:lnTo>
                    <a:pt x="871" y="1301"/>
                  </a:lnTo>
                  <a:lnTo>
                    <a:pt x="796" y="1289"/>
                  </a:lnTo>
                  <a:lnTo>
                    <a:pt x="726" y="1276"/>
                  </a:lnTo>
                  <a:lnTo>
                    <a:pt x="660" y="1264"/>
                  </a:lnTo>
                  <a:lnTo>
                    <a:pt x="598" y="1253"/>
                  </a:lnTo>
                  <a:lnTo>
                    <a:pt x="541" y="1242"/>
                  </a:lnTo>
                  <a:lnTo>
                    <a:pt x="490" y="1232"/>
                  </a:lnTo>
                  <a:lnTo>
                    <a:pt x="446" y="1224"/>
                  </a:lnTo>
                  <a:lnTo>
                    <a:pt x="409" y="1217"/>
                  </a:lnTo>
                  <a:lnTo>
                    <a:pt x="380" y="1212"/>
                  </a:lnTo>
                  <a:lnTo>
                    <a:pt x="359" y="1206"/>
                  </a:lnTo>
                  <a:lnTo>
                    <a:pt x="322" y="1202"/>
                  </a:lnTo>
                  <a:lnTo>
                    <a:pt x="284" y="1206"/>
                  </a:lnTo>
                  <a:lnTo>
                    <a:pt x="246" y="1216"/>
                  </a:lnTo>
                  <a:lnTo>
                    <a:pt x="210" y="1231"/>
                  </a:lnTo>
                  <a:lnTo>
                    <a:pt x="175" y="1250"/>
                  </a:lnTo>
                  <a:lnTo>
                    <a:pt x="140" y="1272"/>
                  </a:lnTo>
                  <a:lnTo>
                    <a:pt x="107" y="1296"/>
                  </a:lnTo>
                  <a:lnTo>
                    <a:pt x="78" y="1320"/>
                  </a:lnTo>
                  <a:lnTo>
                    <a:pt x="60" y="1333"/>
                  </a:lnTo>
                  <a:lnTo>
                    <a:pt x="45" y="1340"/>
                  </a:lnTo>
                  <a:lnTo>
                    <a:pt x="34" y="1341"/>
                  </a:lnTo>
                  <a:lnTo>
                    <a:pt x="24" y="1338"/>
                  </a:lnTo>
                  <a:lnTo>
                    <a:pt x="16" y="1333"/>
                  </a:lnTo>
                  <a:lnTo>
                    <a:pt x="11" y="1326"/>
                  </a:lnTo>
                  <a:lnTo>
                    <a:pt x="7" y="1316"/>
                  </a:lnTo>
                  <a:lnTo>
                    <a:pt x="2" y="1308"/>
                  </a:lnTo>
                  <a:lnTo>
                    <a:pt x="1" y="1300"/>
                  </a:lnTo>
                  <a:lnTo>
                    <a:pt x="1" y="1293"/>
                  </a:lnTo>
                  <a:lnTo>
                    <a:pt x="0" y="1290"/>
                  </a:lnTo>
                  <a:lnTo>
                    <a:pt x="5" y="1217"/>
                  </a:lnTo>
                  <a:lnTo>
                    <a:pt x="11" y="1136"/>
                  </a:lnTo>
                  <a:lnTo>
                    <a:pt x="16" y="1049"/>
                  </a:lnTo>
                  <a:lnTo>
                    <a:pt x="22" y="955"/>
                  </a:lnTo>
                  <a:lnTo>
                    <a:pt x="29" y="860"/>
                  </a:lnTo>
                  <a:lnTo>
                    <a:pt x="34" y="763"/>
                  </a:lnTo>
                  <a:lnTo>
                    <a:pt x="41" y="664"/>
                  </a:lnTo>
                  <a:lnTo>
                    <a:pt x="46" y="567"/>
                  </a:lnTo>
                  <a:lnTo>
                    <a:pt x="53" y="472"/>
                  </a:lnTo>
                  <a:lnTo>
                    <a:pt x="59" y="383"/>
                  </a:lnTo>
                  <a:lnTo>
                    <a:pt x="64" y="297"/>
                  </a:lnTo>
                  <a:lnTo>
                    <a:pt x="69" y="220"/>
                  </a:lnTo>
                  <a:lnTo>
                    <a:pt x="74" y="151"/>
                  </a:lnTo>
                  <a:lnTo>
                    <a:pt x="77" y="132"/>
                  </a:lnTo>
                  <a:lnTo>
                    <a:pt x="82" y="117"/>
                  </a:lnTo>
                  <a:lnTo>
                    <a:pt x="92" y="106"/>
                  </a:lnTo>
                  <a:lnTo>
                    <a:pt x="104" y="99"/>
                  </a:lnTo>
                  <a:lnTo>
                    <a:pt x="120" y="93"/>
                  </a:lnTo>
                  <a:lnTo>
                    <a:pt x="136" y="89"/>
                  </a:lnTo>
                  <a:lnTo>
                    <a:pt x="157" y="87"/>
                  </a:lnTo>
                  <a:lnTo>
                    <a:pt x="179" y="82"/>
                  </a:lnTo>
                  <a:lnTo>
                    <a:pt x="224" y="75"/>
                  </a:lnTo>
                  <a:lnTo>
                    <a:pt x="275" y="67"/>
                  </a:lnTo>
                  <a:lnTo>
                    <a:pt x="330" y="59"/>
                  </a:lnTo>
                  <a:lnTo>
                    <a:pt x="390" y="49"/>
                  </a:lnTo>
                  <a:lnTo>
                    <a:pt x="450" y="41"/>
                  </a:lnTo>
                  <a:lnTo>
                    <a:pt x="514" y="33"/>
                  </a:lnTo>
                  <a:lnTo>
                    <a:pt x="576" y="25"/>
                  </a:lnTo>
                  <a:lnTo>
                    <a:pt x="638" y="18"/>
                  </a:lnTo>
                  <a:lnTo>
                    <a:pt x="697" y="11"/>
                  </a:lnTo>
                  <a:lnTo>
                    <a:pt x="752" y="5"/>
                  </a:lnTo>
                  <a:lnTo>
                    <a:pt x="803" y="3"/>
                  </a:lnTo>
                  <a:lnTo>
                    <a:pt x="850" y="0"/>
                  </a:lnTo>
                  <a:lnTo>
                    <a:pt x="8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132" name="Freeform 17"/>
            <p:cNvSpPr>
              <a:spLocks noEditPoints="1"/>
            </p:cNvSpPr>
            <p:nvPr/>
          </p:nvSpPr>
          <p:spPr bwMode="auto">
            <a:xfrm>
              <a:off x="1743" y="2442"/>
              <a:ext cx="522" cy="673"/>
            </a:xfrm>
            <a:custGeom>
              <a:avLst/>
              <a:gdLst>
                <a:gd name="T0" fmla="*/ 542 w 1045"/>
                <a:gd name="T1" fmla="*/ 806 h 1345"/>
                <a:gd name="T2" fmla="*/ 502 w 1045"/>
                <a:gd name="T3" fmla="*/ 810 h 1345"/>
                <a:gd name="T4" fmla="*/ 466 w 1045"/>
                <a:gd name="T5" fmla="*/ 821 h 1345"/>
                <a:gd name="T6" fmla="*/ 433 w 1045"/>
                <a:gd name="T7" fmla="*/ 839 h 1345"/>
                <a:gd name="T8" fmla="*/ 404 w 1045"/>
                <a:gd name="T9" fmla="*/ 862 h 1345"/>
                <a:gd name="T10" fmla="*/ 380 w 1045"/>
                <a:gd name="T11" fmla="*/ 891 h 1345"/>
                <a:gd name="T12" fmla="*/ 362 w 1045"/>
                <a:gd name="T13" fmla="*/ 923 h 1345"/>
                <a:gd name="T14" fmla="*/ 351 w 1045"/>
                <a:gd name="T15" fmla="*/ 960 h 1345"/>
                <a:gd name="T16" fmla="*/ 347 w 1045"/>
                <a:gd name="T17" fmla="*/ 998 h 1345"/>
                <a:gd name="T18" fmla="*/ 351 w 1045"/>
                <a:gd name="T19" fmla="*/ 1037 h 1345"/>
                <a:gd name="T20" fmla="*/ 362 w 1045"/>
                <a:gd name="T21" fmla="*/ 1074 h 1345"/>
                <a:gd name="T22" fmla="*/ 380 w 1045"/>
                <a:gd name="T23" fmla="*/ 1107 h 1345"/>
                <a:gd name="T24" fmla="*/ 404 w 1045"/>
                <a:gd name="T25" fmla="*/ 1136 h 1345"/>
                <a:gd name="T26" fmla="*/ 433 w 1045"/>
                <a:gd name="T27" fmla="*/ 1159 h 1345"/>
                <a:gd name="T28" fmla="*/ 466 w 1045"/>
                <a:gd name="T29" fmla="*/ 1177 h 1345"/>
                <a:gd name="T30" fmla="*/ 502 w 1045"/>
                <a:gd name="T31" fmla="*/ 1188 h 1345"/>
                <a:gd name="T32" fmla="*/ 542 w 1045"/>
                <a:gd name="T33" fmla="*/ 1193 h 1345"/>
                <a:gd name="T34" fmla="*/ 580 w 1045"/>
                <a:gd name="T35" fmla="*/ 1188 h 1345"/>
                <a:gd name="T36" fmla="*/ 616 w 1045"/>
                <a:gd name="T37" fmla="*/ 1177 h 1345"/>
                <a:gd name="T38" fmla="*/ 649 w 1045"/>
                <a:gd name="T39" fmla="*/ 1159 h 1345"/>
                <a:gd name="T40" fmla="*/ 678 w 1045"/>
                <a:gd name="T41" fmla="*/ 1136 h 1345"/>
                <a:gd name="T42" fmla="*/ 701 w 1045"/>
                <a:gd name="T43" fmla="*/ 1107 h 1345"/>
                <a:gd name="T44" fmla="*/ 719 w 1045"/>
                <a:gd name="T45" fmla="*/ 1074 h 1345"/>
                <a:gd name="T46" fmla="*/ 730 w 1045"/>
                <a:gd name="T47" fmla="*/ 1037 h 1345"/>
                <a:gd name="T48" fmla="*/ 735 w 1045"/>
                <a:gd name="T49" fmla="*/ 998 h 1345"/>
                <a:gd name="T50" fmla="*/ 730 w 1045"/>
                <a:gd name="T51" fmla="*/ 960 h 1345"/>
                <a:gd name="T52" fmla="*/ 719 w 1045"/>
                <a:gd name="T53" fmla="*/ 923 h 1345"/>
                <a:gd name="T54" fmla="*/ 701 w 1045"/>
                <a:gd name="T55" fmla="*/ 891 h 1345"/>
                <a:gd name="T56" fmla="*/ 678 w 1045"/>
                <a:gd name="T57" fmla="*/ 862 h 1345"/>
                <a:gd name="T58" fmla="*/ 649 w 1045"/>
                <a:gd name="T59" fmla="*/ 839 h 1345"/>
                <a:gd name="T60" fmla="*/ 616 w 1045"/>
                <a:gd name="T61" fmla="*/ 821 h 1345"/>
                <a:gd name="T62" fmla="*/ 580 w 1045"/>
                <a:gd name="T63" fmla="*/ 810 h 1345"/>
                <a:gd name="T64" fmla="*/ 542 w 1045"/>
                <a:gd name="T65" fmla="*/ 806 h 1345"/>
                <a:gd name="T66" fmla="*/ 254 w 1045"/>
                <a:gd name="T67" fmla="*/ 0 h 1345"/>
                <a:gd name="T68" fmla="*/ 954 w 1045"/>
                <a:gd name="T69" fmla="*/ 34 h 1345"/>
                <a:gd name="T70" fmla="*/ 980 w 1045"/>
                <a:gd name="T71" fmla="*/ 40 h 1345"/>
                <a:gd name="T72" fmla="*/ 1002 w 1045"/>
                <a:gd name="T73" fmla="*/ 51 h 1345"/>
                <a:gd name="T74" fmla="*/ 1021 w 1045"/>
                <a:gd name="T75" fmla="*/ 67 h 1345"/>
                <a:gd name="T76" fmla="*/ 1035 w 1045"/>
                <a:gd name="T77" fmla="*/ 88 h 1345"/>
                <a:gd name="T78" fmla="*/ 1043 w 1045"/>
                <a:gd name="T79" fmla="*/ 111 h 1345"/>
                <a:gd name="T80" fmla="*/ 1045 w 1045"/>
                <a:gd name="T81" fmla="*/ 138 h 1345"/>
                <a:gd name="T82" fmla="*/ 959 w 1045"/>
                <a:gd name="T83" fmla="*/ 1250 h 1345"/>
                <a:gd name="T84" fmla="*/ 954 w 1045"/>
                <a:gd name="T85" fmla="*/ 1277 h 1345"/>
                <a:gd name="T86" fmla="*/ 941 w 1045"/>
                <a:gd name="T87" fmla="*/ 1300 h 1345"/>
                <a:gd name="T88" fmla="*/ 925 w 1045"/>
                <a:gd name="T89" fmla="*/ 1319 h 1345"/>
                <a:gd name="T90" fmla="*/ 904 w 1045"/>
                <a:gd name="T91" fmla="*/ 1333 h 1345"/>
                <a:gd name="T92" fmla="*/ 879 w 1045"/>
                <a:gd name="T93" fmla="*/ 1343 h 1345"/>
                <a:gd name="T94" fmla="*/ 853 w 1045"/>
                <a:gd name="T95" fmla="*/ 1345 h 1345"/>
                <a:gd name="T96" fmla="*/ 77 w 1045"/>
                <a:gd name="T97" fmla="*/ 1345 h 1345"/>
                <a:gd name="T98" fmla="*/ 52 w 1045"/>
                <a:gd name="T99" fmla="*/ 1341 h 1345"/>
                <a:gd name="T100" fmla="*/ 30 w 1045"/>
                <a:gd name="T101" fmla="*/ 1330 h 1345"/>
                <a:gd name="T102" fmla="*/ 15 w 1045"/>
                <a:gd name="T103" fmla="*/ 1315 h 1345"/>
                <a:gd name="T104" fmla="*/ 4 w 1045"/>
                <a:gd name="T105" fmla="*/ 1294 h 1345"/>
                <a:gd name="T106" fmla="*/ 0 w 1045"/>
                <a:gd name="T107" fmla="*/ 1271 h 1345"/>
                <a:gd name="T108" fmla="*/ 3 w 1045"/>
                <a:gd name="T109" fmla="*/ 1246 h 1345"/>
                <a:gd name="T110" fmla="*/ 131 w 1045"/>
                <a:gd name="T111" fmla="*/ 91 h 1345"/>
                <a:gd name="T112" fmla="*/ 141 w 1045"/>
                <a:gd name="T113" fmla="*/ 66 h 1345"/>
                <a:gd name="T114" fmla="*/ 156 w 1045"/>
                <a:gd name="T115" fmla="*/ 44 h 1345"/>
                <a:gd name="T116" fmla="*/ 176 w 1045"/>
                <a:gd name="T117" fmla="*/ 25 h 1345"/>
                <a:gd name="T118" fmla="*/ 200 w 1045"/>
                <a:gd name="T119" fmla="*/ 11 h 1345"/>
                <a:gd name="T120" fmla="*/ 226 w 1045"/>
                <a:gd name="T121" fmla="*/ 3 h 1345"/>
                <a:gd name="T122" fmla="*/ 254 w 1045"/>
                <a:gd name="T12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5" h="1345">
                  <a:moveTo>
                    <a:pt x="542" y="806"/>
                  </a:moveTo>
                  <a:lnTo>
                    <a:pt x="502" y="810"/>
                  </a:lnTo>
                  <a:lnTo>
                    <a:pt x="466" y="821"/>
                  </a:lnTo>
                  <a:lnTo>
                    <a:pt x="433" y="839"/>
                  </a:lnTo>
                  <a:lnTo>
                    <a:pt x="404" y="862"/>
                  </a:lnTo>
                  <a:lnTo>
                    <a:pt x="380" y="891"/>
                  </a:lnTo>
                  <a:lnTo>
                    <a:pt x="362" y="923"/>
                  </a:lnTo>
                  <a:lnTo>
                    <a:pt x="351" y="960"/>
                  </a:lnTo>
                  <a:lnTo>
                    <a:pt x="347" y="998"/>
                  </a:lnTo>
                  <a:lnTo>
                    <a:pt x="351" y="1037"/>
                  </a:lnTo>
                  <a:lnTo>
                    <a:pt x="362" y="1074"/>
                  </a:lnTo>
                  <a:lnTo>
                    <a:pt x="380" y="1107"/>
                  </a:lnTo>
                  <a:lnTo>
                    <a:pt x="404" y="1136"/>
                  </a:lnTo>
                  <a:lnTo>
                    <a:pt x="433" y="1159"/>
                  </a:lnTo>
                  <a:lnTo>
                    <a:pt x="466" y="1177"/>
                  </a:lnTo>
                  <a:lnTo>
                    <a:pt x="502" y="1188"/>
                  </a:lnTo>
                  <a:lnTo>
                    <a:pt x="542" y="1193"/>
                  </a:lnTo>
                  <a:lnTo>
                    <a:pt x="580" y="1188"/>
                  </a:lnTo>
                  <a:lnTo>
                    <a:pt x="616" y="1177"/>
                  </a:lnTo>
                  <a:lnTo>
                    <a:pt x="649" y="1159"/>
                  </a:lnTo>
                  <a:lnTo>
                    <a:pt x="678" y="1136"/>
                  </a:lnTo>
                  <a:lnTo>
                    <a:pt x="701" y="1107"/>
                  </a:lnTo>
                  <a:lnTo>
                    <a:pt x="719" y="1074"/>
                  </a:lnTo>
                  <a:lnTo>
                    <a:pt x="730" y="1037"/>
                  </a:lnTo>
                  <a:lnTo>
                    <a:pt x="735" y="998"/>
                  </a:lnTo>
                  <a:lnTo>
                    <a:pt x="730" y="960"/>
                  </a:lnTo>
                  <a:lnTo>
                    <a:pt x="719" y="923"/>
                  </a:lnTo>
                  <a:lnTo>
                    <a:pt x="701" y="891"/>
                  </a:lnTo>
                  <a:lnTo>
                    <a:pt x="678" y="862"/>
                  </a:lnTo>
                  <a:lnTo>
                    <a:pt x="649" y="839"/>
                  </a:lnTo>
                  <a:lnTo>
                    <a:pt x="616" y="821"/>
                  </a:lnTo>
                  <a:lnTo>
                    <a:pt x="580" y="810"/>
                  </a:lnTo>
                  <a:lnTo>
                    <a:pt x="542" y="806"/>
                  </a:lnTo>
                  <a:close/>
                  <a:moveTo>
                    <a:pt x="254" y="0"/>
                  </a:moveTo>
                  <a:lnTo>
                    <a:pt x="954" y="34"/>
                  </a:lnTo>
                  <a:lnTo>
                    <a:pt x="980" y="40"/>
                  </a:lnTo>
                  <a:lnTo>
                    <a:pt x="1002" y="51"/>
                  </a:lnTo>
                  <a:lnTo>
                    <a:pt x="1021" y="67"/>
                  </a:lnTo>
                  <a:lnTo>
                    <a:pt x="1035" y="88"/>
                  </a:lnTo>
                  <a:lnTo>
                    <a:pt x="1043" y="111"/>
                  </a:lnTo>
                  <a:lnTo>
                    <a:pt x="1045" y="138"/>
                  </a:lnTo>
                  <a:lnTo>
                    <a:pt x="959" y="1250"/>
                  </a:lnTo>
                  <a:lnTo>
                    <a:pt x="954" y="1277"/>
                  </a:lnTo>
                  <a:lnTo>
                    <a:pt x="941" y="1300"/>
                  </a:lnTo>
                  <a:lnTo>
                    <a:pt x="925" y="1319"/>
                  </a:lnTo>
                  <a:lnTo>
                    <a:pt x="904" y="1333"/>
                  </a:lnTo>
                  <a:lnTo>
                    <a:pt x="879" y="1343"/>
                  </a:lnTo>
                  <a:lnTo>
                    <a:pt x="853" y="1345"/>
                  </a:lnTo>
                  <a:lnTo>
                    <a:pt x="77" y="1345"/>
                  </a:lnTo>
                  <a:lnTo>
                    <a:pt x="52" y="1341"/>
                  </a:lnTo>
                  <a:lnTo>
                    <a:pt x="30" y="1330"/>
                  </a:lnTo>
                  <a:lnTo>
                    <a:pt x="15" y="1315"/>
                  </a:lnTo>
                  <a:lnTo>
                    <a:pt x="4" y="1294"/>
                  </a:lnTo>
                  <a:lnTo>
                    <a:pt x="0" y="1271"/>
                  </a:lnTo>
                  <a:lnTo>
                    <a:pt x="3" y="1246"/>
                  </a:lnTo>
                  <a:lnTo>
                    <a:pt x="131" y="91"/>
                  </a:lnTo>
                  <a:lnTo>
                    <a:pt x="141" y="66"/>
                  </a:lnTo>
                  <a:lnTo>
                    <a:pt x="156" y="44"/>
                  </a:lnTo>
                  <a:lnTo>
                    <a:pt x="176" y="25"/>
                  </a:lnTo>
                  <a:lnTo>
                    <a:pt x="200" y="11"/>
                  </a:lnTo>
                  <a:lnTo>
                    <a:pt x="226" y="3"/>
                  </a:lnTo>
                  <a:lnTo>
                    <a:pt x="2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</p:grpSp>
      <p:sp>
        <p:nvSpPr>
          <p:cNvPr id="134" name="Прямокутник 133"/>
          <p:cNvSpPr/>
          <p:nvPr/>
        </p:nvSpPr>
        <p:spPr>
          <a:xfrm>
            <a:off x="695400" y="4869160"/>
            <a:ext cx="957706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180975" algn="l"/>
              </a:tabLst>
            </a:pPr>
            <a:r>
              <a:rPr lang="uk-UA" sz="2000" b="1" dirty="0" smtClean="0">
                <a:latin typeface="Calibri" panose="020F0502020204030204" pitchFamily="34" charset="0"/>
              </a:rPr>
              <a:t>-   Закон </a:t>
            </a:r>
            <a:r>
              <a:rPr lang="uk-UA" sz="2000" b="1" dirty="0">
                <a:latin typeface="Calibri" panose="020F0502020204030204" pitchFamily="34" charset="0"/>
              </a:rPr>
              <a:t>України «Про добровільне об</a:t>
            </a:r>
            <a:r>
              <a:rPr lang="uk-UA" altLang="ru-RU" sz="2000" b="1" dirty="0">
                <a:latin typeface="Calibri" pitchFamily="34" charset="0"/>
              </a:rPr>
              <a:t>’єднання територіальних громад</a:t>
            </a:r>
            <a:r>
              <a:rPr lang="uk-UA" sz="2000" b="1" dirty="0">
                <a:latin typeface="Calibri" panose="020F0502020204030204" pitchFamily="34" charset="0"/>
              </a:rPr>
              <a:t>» </a:t>
            </a:r>
            <a:endParaRPr lang="uk-UA" sz="2000" b="1" dirty="0" smtClean="0">
              <a:latin typeface="Calibri" panose="020F0502020204030204" pitchFamily="34" charset="0"/>
            </a:endParaRPr>
          </a:p>
          <a:p>
            <a:pPr marL="265113" indent="-265113" algn="just">
              <a:buFontTx/>
              <a:buChar char="-"/>
            </a:pPr>
            <a:r>
              <a:rPr lang="uk-UA" sz="2000" b="1" dirty="0" smtClean="0">
                <a:latin typeface="Calibri" panose="020F0502020204030204" pitchFamily="34" charset="0"/>
              </a:rPr>
              <a:t>Закон </a:t>
            </a:r>
            <a:r>
              <a:rPr lang="uk-UA" sz="2000" b="1" dirty="0">
                <a:latin typeface="Calibri" panose="020F0502020204030204" pitchFamily="34" charset="0"/>
              </a:rPr>
              <a:t>України «</a:t>
            </a:r>
            <a:r>
              <a:rPr lang="ru-RU" sz="2000" b="1" dirty="0">
                <a:latin typeface="Calibri" panose="020F0502020204030204" pitchFamily="34" charset="0"/>
              </a:rPr>
              <a:t>Про Державний бюджет України на 2016 </a:t>
            </a:r>
            <a:r>
              <a:rPr lang="ru-RU" sz="2000" b="1" dirty="0" err="1">
                <a:latin typeface="Calibri" panose="020F0502020204030204" pitchFamily="34" charset="0"/>
              </a:rPr>
              <a:t>рік</a:t>
            </a:r>
            <a:r>
              <a:rPr lang="uk-UA" sz="2000" b="1" dirty="0" smtClean="0">
                <a:latin typeface="Calibri" panose="020F0502020204030204" pitchFamily="34" charset="0"/>
              </a:rPr>
              <a:t>»</a:t>
            </a:r>
          </a:p>
          <a:p>
            <a:pPr marL="285750" indent="-285750" algn="just">
              <a:buFontTx/>
              <a:buChar char="-"/>
            </a:pPr>
            <a:r>
              <a:rPr lang="ru-RU" sz="2000" b="1" dirty="0">
                <a:latin typeface="Calibri" panose="020F0502020204030204" pitchFamily="34" charset="0"/>
              </a:rPr>
              <a:t>П</a:t>
            </a:r>
            <a:r>
              <a:rPr lang="ru-RU" sz="2000" b="1" dirty="0" smtClean="0">
                <a:latin typeface="Calibri" panose="020F0502020204030204" pitchFamily="34" charset="0"/>
              </a:rPr>
              <a:t>останова </a:t>
            </a:r>
            <a:r>
              <a:rPr lang="ru-RU" sz="2000" b="1" dirty="0" err="1">
                <a:latin typeface="Calibri" panose="020F0502020204030204" pitchFamily="34" charset="0"/>
              </a:rPr>
              <a:t>К</a:t>
            </a:r>
            <a:r>
              <a:rPr lang="ru-RU" sz="2000" b="1" dirty="0" err="1" smtClean="0">
                <a:latin typeface="Calibri" panose="020F0502020204030204" pitchFamily="34" charset="0"/>
              </a:rPr>
              <a:t>абінету</a:t>
            </a:r>
            <a:r>
              <a:rPr lang="ru-RU" sz="2000" b="1" dirty="0" smtClean="0">
                <a:latin typeface="Calibri" panose="020F0502020204030204" pitchFamily="34" charset="0"/>
              </a:rPr>
              <a:t> </a:t>
            </a:r>
            <a:r>
              <a:rPr lang="ru-RU" sz="2000" b="1" dirty="0" err="1">
                <a:latin typeface="Calibri" panose="020F0502020204030204" pitchFamily="34" charset="0"/>
              </a:rPr>
              <a:t>М</a:t>
            </a:r>
            <a:r>
              <a:rPr lang="ru-RU" sz="2000" b="1" dirty="0" err="1" smtClean="0">
                <a:latin typeface="Calibri" panose="020F0502020204030204" pitchFamily="34" charset="0"/>
              </a:rPr>
              <a:t>іністрів</a:t>
            </a:r>
            <a:r>
              <a:rPr lang="ru-RU" sz="2000" b="1" dirty="0" smtClean="0">
                <a:latin typeface="Calibri" panose="020F0502020204030204" pitchFamily="34" charset="0"/>
              </a:rPr>
              <a:t> </a:t>
            </a:r>
            <a:r>
              <a:rPr lang="ru-RU" sz="2000" b="1" dirty="0" err="1">
                <a:latin typeface="Calibri" panose="020F0502020204030204" pitchFamily="34" charset="0"/>
              </a:rPr>
              <a:t>У</a:t>
            </a:r>
            <a:r>
              <a:rPr lang="ru-RU" sz="2000" b="1" dirty="0" err="1" smtClean="0">
                <a:latin typeface="Calibri" panose="020F0502020204030204" pitchFamily="34" charset="0"/>
              </a:rPr>
              <a:t>країни</a:t>
            </a:r>
            <a:r>
              <a:rPr lang="ru-RU" sz="2000" b="1" dirty="0" smtClean="0">
                <a:latin typeface="Calibri" panose="020F0502020204030204" pitchFamily="34" charset="0"/>
              </a:rPr>
              <a:t> </a:t>
            </a:r>
            <a:r>
              <a:rPr lang="ru-RU" sz="2000" b="1" dirty="0" err="1" smtClean="0">
                <a:latin typeface="Calibri" panose="020F0502020204030204" pitchFamily="34" charset="0"/>
              </a:rPr>
              <a:t>від</a:t>
            </a:r>
            <a:r>
              <a:rPr lang="ru-RU" sz="2000" b="1" dirty="0" smtClean="0">
                <a:latin typeface="Calibri" panose="020F0502020204030204" pitchFamily="34" charset="0"/>
              </a:rPr>
              <a:t> 16.03.2016 № </a:t>
            </a:r>
            <a:r>
              <a:rPr lang="ru-RU" sz="2000" b="1" dirty="0">
                <a:latin typeface="Calibri" panose="020F0502020204030204" pitchFamily="34" charset="0"/>
              </a:rPr>
              <a:t>200</a:t>
            </a:r>
          </a:p>
          <a:p>
            <a:pPr marL="285750" indent="-285750" algn="just">
              <a:buFontTx/>
              <a:buChar char="-"/>
            </a:pPr>
            <a:r>
              <a:rPr lang="uk-UA" sz="2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Наказ </a:t>
            </a:r>
            <a:r>
              <a:rPr lang="uk-UA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Мінрегіону від 28.03.2016 № 73</a:t>
            </a: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</a:t>
            </a:r>
            <a:endParaRPr lang="uk-UA" sz="2000" dirty="0" smtClean="0">
              <a:solidFill>
                <a:schemeClr val="tx1">
                  <a:lumMod val="95000"/>
                  <a:lumOff val="5000"/>
                </a:schemeClr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2000" b="1" dirty="0" smtClean="0">
                <a:latin typeface="Calibri" panose="020F0502020204030204" pitchFamily="34" charset="0"/>
              </a:rPr>
              <a:t>Наказ </a:t>
            </a:r>
            <a:r>
              <a:rPr lang="ru-RU" sz="2000" b="1" dirty="0" err="1">
                <a:latin typeface="Calibri" panose="020F0502020204030204" pitchFamily="34" charset="0"/>
              </a:rPr>
              <a:t>Мінрегіону</a:t>
            </a:r>
            <a:r>
              <a:rPr lang="ru-RU" sz="2000" b="1" dirty="0">
                <a:latin typeface="Calibri" panose="020F0502020204030204" pitchFamily="34" charset="0"/>
              </a:rPr>
              <a:t> </a:t>
            </a:r>
            <a:r>
              <a:rPr lang="ru-RU" sz="2000" b="1" dirty="0" err="1">
                <a:latin typeface="Calibri" panose="020F0502020204030204" pitchFamily="34" charset="0"/>
              </a:rPr>
              <a:t>від</a:t>
            </a:r>
            <a:r>
              <a:rPr lang="ru-RU" sz="2000" b="1" dirty="0">
                <a:latin typeface="Calibri" panose="020F0502020204030204" pitchFamily="34" charset="0"/>
              </a:rPr>
              <a:t> 05.04.2016 № </a:t>
            </a:r>
            <a:r>
              <a:rPr lang="ru-RU" sz="2000" b="1" dirty="0" smtClean="0">
                <a:latin typeface="Calibri" panose="020F0502020204030204" pitchFamily="34" charset="0"/>
              </a:rPr>
              <a:t>82</a:t>
            </a:r>
            <a:endParaRPr lang="uk-UA" sz="2000" dirty="0">
              <a:latin typeface="Calibri" panose="020F0502020204030204" pitchFamily="34" charset="0"/>
            </a:endParaRPr>
          </a:p>
        </p:txBody>
      </p:sp>
      <p:sp>
        <p:nvSpPr>
          <p:cNvPr id="135" name="Прямокутник 134"/>
          <p:cNvSpPr/>
          <p:nvPr/>
        </p:nvSpPr>
        <p:spPr>
          <a:xfrm>
            <a:off x="2054052" y="3645025"/>
            <a:ext cx="24577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/>
              <a:t>1 млрд.грн</a:t>
            </a:r>
            <a:r>
              <a:rPr lang="ru-RU" sz="1600" dirty="0"/>
              <a:t>. </a:t>
            </a:r>
            <a:endParaRPr lang="uk-UA" sz="1600" dirty="0"/>
          </a:p>
        </p:txBody>
      </p:sp>
      <p:sp>
        <p:nvSpPr>
          <p:cNvPr id="2" name="Стрілка вправо 1"/>
          <p:cNvSpPr/>
          <p:nvPr/>
        </p:nvSpPr>
        <p:spPr bwMode="auto">
          <a:xfrm>
            <a:off x="4511825" y="2111418"/>
            <a:ext cx="2592287" cy="10261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grpSp>
        <p:nvGrpSpPr>
          <p:cNvPr id="136" name="Групувати 135"/>
          <p:cNvGrpSpPr/>
          <p:nvPr/>
        </p:nvGrpSpPr>
        <p:grpSpPr>
          <a:xfrm>
            <a:off x="7340006" y="1268760"/>
            <a:ext cx="2788442" cy="2668652"/>
            <a:chOff x="3241985" y="432048"/>
            <a:chExt cx="1379212" cy="1440160"/>
          </a:xfrm>
          <a:solidFill>
            <a:schemeClr val="accent6">
              <a:lumMod val="75000"/>
            </a:schemeClr>
          </a:solidFill>
        </p:grpSpPr>
        <p:sp>
          <p:nvSpPr>
            <p:cNvPr id="137" name="Овал 136"/>
            <p:cNvSpPr/>
            <p:nvPr/>
          </p:nvSpPr>
          <p:spPr>
            <a:xfrm>
              <a:off x="3241985" y="432048"/>
              <a:ext cx="1379212" cy="1440160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39" name="Овал 4"/>
            <p:cNvSpPr/>
            <p:nvPr/>
          </p:nvSpPr>
          <p:spPr>
            <a:xfrm>
              <a:off x="3441955" y="693005"/>
              <a:ext cx="964574" cy="9682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4800" dirty="0"/>
                <a:t>159</a:t>
              </a:r>
              <a:r>
                <a:rPr lang="uk-UA" sz="4000" dirty="0"/>
                <a:t> </a:t>
              </a:r>
              <a:r>
                <a:rPr lang="uk-UA" sz="4400" dirty="0"/>
                <a:t>ОТГ</a:t>
              </a:r>
              <a:endParaRPr lang="uk-UA" sz="2800" dirty="0"/>
            </a:p>
          </p:txBody>
        </p:sp>
      </p:grpSp>
      <p:sp>
        <p:nvSpPr>
          <p:cNvPr id="141" name="Прямокутник 140"/>
          <p:cNvSpPr/>
          <p:nvPr/>
        </p:nvSpPr>
        <p:spPr>
          <a:xfrm>
            <a:off x="4511824" y="1628800"/>
            <a:ext cx="25922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СПРЯМОВАНО</a:t>
            </a:r>
            <a:endParaRPr lang="uk-UA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584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2484578" y="213440"/>
            <a:ext cx="8868006" cy="335240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100" b="1" cap="all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Arial" pitchFamily="34" charset="0"/>
              </a:rPr>
              <a:t>ПОРЯДОК ТА УМОВИ НАДАННЯ СУБВЕНЦІЇ  З ДЕРЖАВНОГО БЮДЖЕТУ</a:t>
            </a:r>
          </a:p>
        </p:txBody>
      </p:sp>
      <p:sp>
        <p:nvSpPr>
          <p:cNvPr id="4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981950" y="6356352"/>
            <a:ext cx="2057400" cy="365125"/>
          </a:xfr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TextBox 109"/>
          <p:cNvSpPr txBox="1">
            <a:spLocks noChangeArrowheads="1"/>
          </p:cNvSpPr>
          <p:nvPr/>
        </p:nvSpPr>
        <p:spPr bwMode="auto">
          <a:xfrm>
            <a:off x="839416" y="1008495"/>
            <a:ext cx="1072919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uk-UA" b="1" dirty="0">
                <a:solidFill>
                  <a:srgbClr val="255286"/>
                </a:solidFill>
              </a:rPr>
              <a:t>РОЗПОДІЛ СУБВЕНЦІЇ </a:t>
            </a:r>
            <a:r>
              <a:rPr lang="uk-UA" b="1" dirty="0" smtClean="0">
                <a:solidFill>
                  <a:srgbClr val="255286"/>
                </a:solidFill>
              </a:rPr>
              <a:t>  МІЖ  МІСЦЕВИМИ  </a:t>
            </a:r>
            <a:r>
              <a:rPr lang="uk-UA" b="1" dirty="0">
                <a:solidFill>
                  <a:srgbClr val="255286"/>
                </a:solidFill>
              </a:rPr>
              <a:t>БЮДЖЕТАМИ </a:t>
            </a:r>
            <a:r>
              <a:rPr lang="uk-UA" b="1" dirty="0" smtClean="0">
                <a:solidFill>
                  <a:srgbClr val="255286"/>
                </a:solidFill>
              </a:rPr>
              <a:t> ЗДІЙСНЮЄТЬСЯ  ЗА   ДВОМА  ПАРАМЕТРАМИ:</a:t>
            </a:r>
          </a:p>
          <a:p>
            <a:pPr algn="ctr"/>
            <a:r>
              <a:rPr lang="uk-UA" b="1" dirty="0" smtClean="0">
                <a:solidFill>
                  <a:srgbClr val="255286"/>
                </a:solidFill>
              </a:rPr>
              <a:t>ПЛОЩІ  </a:t>
            </a:r>
            <a:r>
              <a:rPr lang="uk-UA" b="1" dirty="0">
                <a:solidFill>
                  <a:srgbClr val="255286"/>
                </a:solidFill>
              </a:rPr>
              <a:t>ОТГ  </a:t>
            </a:r>
            <a:r>
              <a:rPr lang="uk-UA" b="1" dirty="0" smtClean="0">
                <a:solidFill>
                  <a:srgbClr val="255286"/>
                </a:solidFill>
              </a:rPr>
              <a:t> ТА   ЧИСЕЛЬНОСТІ   </a:t>
            </a:r>
            <a:r>
              <a:rPr lang="uk-UA" b="1" dirty="0">
                <a:solidFill>
                  <a:srgbClr val="255286"/>
                </a:solidFill>
              </a:rPr>
              <a:t>СІЛЬСЬКОГО </a:t>
            </a:r>
            <a:r>
              <a:rPr lang="uk-UA" b="1" dirty="0" smtClean="0">
                <a:solidFill>
                  <a:srgbClr val="255286"/>
                </a:solidFill>
              </a:rPr>
              <a:t>  НАСЕЛЕННЯ</a:t>
            </a:r>
            <a:endParaRPr lang="uk-UA" b="1" dirty="0">
              <a:solidFill>
                <a:srgbClr val="255286"/>
              </a:solidFill>
            </a:endParaRPr>
          </a:p>
        </p:txBody>
      </p:sp>
      <p:grpSp>
        <p:nvGrpSpPr>
          <p:cNvPr id="21" name="Group 165"/>
          <p:cNvGrpSpPr>
            <a:grpSpLocks/>
          </p:cNvGrpSpPr>
          <p:nvPr/>
        </p:nvGrpSpPr>
        <p:grpSpPr bwMode="auto">
          <a:xfrm>
            <a:off x="2315582" y="1988840"/>
            <a:ext cx="1618631" cy="1561786"/>
            <a:chOff x="1714663" y="980728"/>
            <a:chExt cx="7304904" cy="4752589"/>
          </a:xfrm>
        </p:grpSpPr>
        <p:grpSp>
          <p:nvGrpSpPr>
            <p:cNvPr id="22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25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5013" cy="3654643"/>
              </a:xfrm>
              <a:prstGeom prst="rect">
                <a:avLst/>
              </a:prstGeom>
              <a:noFill/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6" name="Freeform 62"/>
              <p:cNvSpPr>
                <a:spLocks/>
              </p:cNvSpPr>
              <p:nvPr/>
            </p:nvSpPr>
            <p:spPr bwMode="auto">
              <a:xfrm>
                <a:off x="4564212" y="4995635"/>
                <a:ext cx="89161" cy="72369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8" name="Freeform 61"/>
              <p:cNvSpPr>
                <a:spLocks/>
              </p:cNvSpPr>
              <p:nvPr/>
            </p:nvSpPr>
            <p:spPr bwMode="auto">
              <a:xfrm>
                <a:off x="3541464" y="4823759"/>
                <a:ext cx="110144" cy="45231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9" name="Freeform 60"/>
              <p:cNvSpPr>
                <a:spLocks/>
              </p:cNvSpPr>
              <p:nvPr/>
            </p:nvSpPr>
            <p:spPr bwMode="auto">
              <a:xfrm>
                <a:off x="4774007" y="4963972"/>
                <a:ext cx="73428" cy="49755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" name="Freeform 59"/>
              <p:cNvSpPr>
                <a:spLocks/>
              </p:cNvSpPr>
              <p:nvPr/>
            </p:nvSpPr>
            <p:spPr bwMode="auto">
              <a:xfrm>
                <a:off x="3940073" y="5036342"/>
                <a:ext cx="146856" cy="4523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Freeform 105"/>
              <p:cNvSpPr>
                <a:spLocks/>
              </p:cNvSpPr>
              <p:nvPr/>
            </p:nvSpPr>
            <p:spPr bwMode="auto">
              <a:xfrm>
                <a:off x="824628" y="3385421"/>
                <a:ext cx="702811" cy="827721"/>
              </a:xfrm>
              <a:custGeom>
                <a:avLst/>
                <a:gdLst/>
                <a:ahLst/>
                <a:cxnLst>
                  <a:cxn ang="0">
                    <a:pos x="0" y="135"/>
                  </a:cxn>
                  <a:cxn ang="0">
                    <a:pos x="3" y="108"/>
                  </a:cxn>
                  <a:cxn ang="0">
                    <a:pos x="11" y="90"/>
                  </a:cxn>
                  <a:cxn ang="0">
                    <a:pos x="22" y="80"/>
                  </a:cxn>
                  <a:cxn ang="0">
                    <a:pos x="39" y="71"/>
                  </a:cxn>
                  <a:cxn ang="0">
                    <a:pos x="63" y="69"/>
                  </a:cxn>
                  <a:cxn ang="0">
                    <a:pos x="93" y="66"/>
                  </a:cxn>
                  <a:cxn ang="0">
                    <a:pos x="116" y="59"/>
                  </a:cxn>
                  <a:cxn ang="0">
                    <a:pos x="103" y="56"/>
                  </a:cxn>
                  <a:cxn ang="0">
                    <a:pos x="102" y="40"/>
                  </a:cxn>
                  <a:cxn ang="0">
                    <a:pos x="113" y="21"/>
                  </a:cxn>
                  <a:cxn ang="0">
                    <a:pos x="123" y="7"/>
                  </a:cxn>
                  <a:cxn ang="0">
                    <a:pos x="140" y="6"/>
                  </a:cxn>
                  <a:cxn ang="0">
                    <a:pos x="151" y="11"/>
                  </a:cxn>
                  <a:cxn ang="0">
                    <a:pos x="162" y="53"/>
                  </a:cxn>
                  <a:cxn ang="0">
                    <a:pos x="163" y="66"/>
                  </a:cxn>
                  <a:cxn ang="0">
                    <a:pos x="160" y="81"/>
                  </a:cxn>
                  <a:cxn ang="0">
                    <a:pos x="176" y="87"/>
                  </a:cxn>
                  <a:cxn ang="0">
                    <a:pos x="165" y="95"/>
                  </a:cxn>
                  <a:cxn ang="0">
                    <a:pos x="179" y="111"/>
                  </a:cxn>
                  <a:cxn ang="0">
                    <a:pos x="188" y="117"/>
                  </a:cxn>
                  <a:cxn ang="0">
                    <a:pos x="196" y="126"/>
                  </a:cxn>
                  <a:cxn ang="0">
                    <a:pos x="204" y="135"/>
                  </a:cxn>
                  <a:cxn ang="0">
                    <a:pos x="219" y="135"/>
                  </a:cxn>
                  <a:cxn ang="0">
                    <a:pos x="233" y="143"/>
                  </a:cxn>
                  <a:cxn ang="0">
                    <a:pos x="246" y="168"/>
                  </a:cxn>
                  <a:cxn ang="0">
                    <a:pos x="241" y="189"/>
                  </a:cxn>
                  <a:cxn ang="0">
                    <a:pos x="241" y="205"/>
                  </a:cxn>
                  <a:cxn ang="0">
                    <a:pos x="225" y="217"/>
                  </a:cxn>
                  <a:cxn ang="0">
                    <a:pos x="189" y="240"/>
                  </a:cxn>
                  <a:cxn ang="0">
                    <a:pos x="182" y="245"/>
                  </a:cxn>
                  <a:cxn ang="0">
                    <a:pos x="161" y="264"/>
                  </a:cxn>
                  <a:cxn ang="0">
                    <a:pos x="153" y="302"/>
                  </a:cxn>
                  <a:cxn ang="0">
                    <a:pos x="148" y="331"/>
                  </a:cxn>
                  <a:cxn ang="0">
                    <a:pos x="124" y="306"/>
                  </a:cxn>
                  <a:cxn ang="0">
                    <a:pos x="113" y="285"/>
                  </a:cxn>
                  <a:cxn ang="0">
                    <a:pos x="111" y="256"/>
                  </a:cxn>
                  <a:cxn ang="0">
                    <a:pos x="106" y="238"/>
                  </a:cxn>
                  <a:cxn ang="0">
                    <a:pos x="91" y="217"/>
                  </a:cxn>
                  <a:cxn ang="0">
                    <a:pos x="78" y="213"/>
                  </a:cxn>
                  <a:cxn ang="0">
                    <a:pos x="62" y="201"/>
                  </a:cxn>
                  <a:cxn ang="0">
                    <a:pos x="60" y="180"/>
                  </a:cxn>
                  <a:cxn ang="0">
                    <a:pos x="45" y="186"/>
                  </a:cxn>
                  <a:cxn ang="0">
                    <a:pos x="40" y="177"/>
                  </a:cxn>
                  <a:cxn ang="0">
                    <a:pos x="32" y="169"/>
                  </a:cxn>
                  <a:cxn ang="0">
                    <a:pos x="12" y="153"/>
                  </a:cxn>
                  <a:cxn ang="0">
                    <a:pos x="0" y="135"/>
                  </a:cxn>
                  <a:cxn ang="0">
                    <a:pos x="0" y="135"/>
                  </a:cxn>
                </a:cxnLst>
                <a:rect l="0" t="0" r="r" b="b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32" name="Freeform 57"/>
              <p:cNvSpPr>
                <a:spLocks/>
              </p:cNvSpPr>
              <p:nvPr/>
            </p:nvSpPr>
            <p:spPr bwMode="auto">
              <a:xfrm>
                <a:off x="541405" y="2892405"/>
                <a:ext cx="970300" cy="832245"/>
              </a:xfrm>
              <a:custGeom>
                <a:avLst/>
                <a:gdLst/>
                <a:ahLst/>
                <a:cxnLst>
                  <a:cxn ang="0">
                    <a:pos x="28" y="267"/>
                  </a:cxn>
                  <a:cxn ang="0">
                    <a:pos x="20" y="247"/>
                  </a:cxn>
                  <a:cxn ang="0">
                    <a:pos x="16" y="227"/>
                  </a:cxn>
                  <a:cxn ang="0">
                    <a:pos x="18" y="197"/>
                  </a:cxn>
                  <a:cxn ang="0">
                    <a:pos x="15" y="179"/>
                  </a:cxn>
                  <a:cxn ang="0">
                    <a:pos x="48" y="134"/>
                  </a:cxn>
                  <a:cxn ang="0">
                    <a:pos x="148" y="45"/>
                  </a:cxn>
                  <a:cxn ang="0">
                    <a:pos x="172" y="32"/>
                  </a:cxn>
                  <a:cxn ang="0">
                    <a:pos x="189" y="24"/>
                  </a:cxn>
                  <a:cxn ang="0">
                    <a:pos x="201" y="13"/>
                  </a:cxn>
                  <a:cxn ang="0">
                    <a:pos x="201" y="0"/>
                  </a:cxn>
                  <a:cxn ang="0">
                    <a:pos x="219" y="10"/>
                  </a:cxn>
                  <a:cxn ang="0">
                    <a:pos x="234" y="14"/>
                  </a:cxn>
                  <a:cxn ang="0">
                    <a:pos x="244" y="22"/>
                  </a:cxn>
                  <a:cxn ang="0">
                    <a:pos x="237" y="35"/>
                  </a:cxn>
                  <a:cxn ang="0">
                    <a:pos x="245" y="40"/>
                  </a:cxn>
                  <a:cxn ang="0">
                    <a:pos x="259" y="48"/>
                  </a:cxn>
                  <a:cxn ang="0">
                    <a:pos x="274" y="58"/>
                  </a:cxn>
                  <a:cxn ang="0">
                    <a:pos x="295" y="58"/>
                  </a:cxn>
                  <a:cxn ang="0">
                    <a:pos x="304" y="69"/>
                  </a:cxn>
                  <a:cxn ang="0">
                    <a:pos x="318" y="72"/>
                  </a:cxn>
                  <a:cxn ang="0">
                    <a:pos x="315" y="84"/>
                  </a:cxn>
                  <a:cxn ang="0">
                    <a:pos x="318" y="108"/>
                  </a:cxn>
                  <a:cxn ang="0">
                    <a:pos x="318" y="108"/>
                  </a:cxn>
                  <a:cxn ang="0">
                    <a:pos x="333" y="124"/>
                  </a:cxn>
                  <a:cxn ang="0">
                    <a:pos x="333" y="124"/>
                  </a:cxn>
                  <a:cxn ang="0">
                    <a:pos x="333" y="144"/>
                  </a:cxn>
                  <a:cxn ang="0">
                    <a:pos x="319" y="152"/>
                  </a:cxn>
                  <a:cxn ang="0">
                    <a:pos x="296" y="164"/>
                  </a:cxn>
                  <a:cxn ang="0">
                    <a:pos x="289" y="172"/>
                  </a:cxn>
                  <a:cxn ang="0">
                    <a:pos x="274" y="190"/>
                  </a:cxn>
                  <a:cxn ang="0">
                    <a:pos x="254" y="199"/>
                  </a:cxn>
                  <a:cxn ang="0">
                    <a:pos x="250" y="209"/>
                  </a:cxn>
                  <a:cxn ang="0">
                    <a:pos x="239" y="204"/>
                  </a:cxn>
                  <a:cxn ang="0">
                    <a:pos x="222" y="205"/>
                  </a:cxn>
                  <a:cxn ang="0">
                    <a:pos x="212" y="219"/>
                  </a:cxn>
                  <a:cxn ang="0">
                    <a:pos x="201" y="238"/>
                  </a:cxn>
                  <a:cxn ang="0">
                    <a:pos x="202" y="254"/>
                  </a:cxn>
                  <a:cxn ang="0">
                    <a:pos x="215" y="257"/>
                  </a:cxn>
                  <a:cxn ang="0">
                    <a:pos x="192" y="264"/>
                  </a:cxn>
                  <a:cxn ang="0">
                    <a:pos x="162" y="267"/>
                  </a:cxn>
                  <a:cxn ang="0">
                    <a:pos x="138" y="269"/>
                  </a:cxn>
                  <a:cxn ang="0">
                    <a:pos x="121" y="278"/>
                  </a:cxn>
                  <a:cxn ang="0">
                    <a:pos x="110" y="288"/>
                  </a:cxn>
                  <a:cxn ang="0">
                    <a:pos x="102" y="306"/>
                  </a:cxn>
                  <a:cxn ang="0">
                    <a:pos x="100" y="333"/>
                  </a:cxn>
                  <a:cxn ang="0">
                    <a:pos x="100" y="333"/>
                  </a:cxn>
                  <a:cxn ang="0">
                    <a:pos x="83" y="333"/>
                  </a:cxn>
                  <a:cxn ang="0">
                    <a:pos x="83" y="333"/>
                  </a:cxn>
                  <a:cxn ang="0">
                    <a:pos x="69" y="324"/>
                  </a:cxn>
                  <a:cxn ang="0">
                    <a:pos x="55" y="313"/>
                  </a:cxn>
                  <a:cxn ang="0">
                    <a:pos x="43" y="304"/>
                  </a:cxn>
                  <a:cxn ang="0">
                    <a:pos x="31" y="295"/>
                  </a:cxn>
                  <a:cxn ang="0">
                    <a:pos x="28" y="267"/>
                  </a:cxn>
                  <a:cxn ang="0">
                    <a:pos x="28" y="267"/>
                  </a:cxn>
                </a:cxnLst>
                <a:rect l="0" t="0" r="r" b="b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43" name="Freeform 56"/>
              <p:cNvSpPr>
                <a:spLocks/>
              </p:cNvSpPr>
              <p:nvPr/>
            </p:nvSpPr>
            <p:spPr bwMode="auto">
              <a:xfrm>
                <a:off x="1249463" y="3086898"/>
                <a:ext cx="540219" cy="800583"/>
              </a:xfrm>
              <a:custGeom>
                <a:avLst/>
                <a:gdLst/>
                <a:ahLst/>
                <a:cxnLst>
                  <a:cxn ang="0">
                    <a:pos x="96" y="288"/>
                  </a:cxn>
                  <a:cxn ang="0">
                    <a:pos x="104" y="292"/>
                  </a:cxn>
                  <a:cxn ang="0">
                    <a:pos x="114" y="294"/>
                  </a:cxn>
                  <a:cxn ang="0">
                    <a:pos x="126" y="302"/>
                  </a:cxn>
                  <a:cxn ang="0">
                    <a:pos x="134" y="304"/>
                  </a:cxn>
                  <a:cxn ang="0">
                    <a:pos x="151" y="309"/>
                  </a:cxn>
                  <a:cxn ang="0">
                    <a:pos x="165" y="318"/>
                  </a:cxn>
                  <a:cxn ang="0">
                    <a:pos x="180" y="320"/>
                  </a:cxn>
                  <a:cxn ang="0">
                    <a:pos x="175" y="303"/>
                  </a:cxn>
                  <a:cxn ang="0">
                    <a:pos x="169" y="266"/>
                  </a:cxn>
                  <a:cxn ang="0">
                    <a:pos x="169" y="223"/>
                  </a:cxn>
                  <a:cxn ang="0">
                    <a:pos x="173" y="188"/>
                  </a:cxn>
                  <a:cxn ang="0">
                    <a:pos x="171" y="153"/>
                  </a:cxn>
                  <a:cxn ang="0">
                    <a:pos x="172" y="134"/>
                  </a:cxn>
                  <a:cxn ang="0">
                    <a:pos x="178" y="111"/>
                  </a:cxn>
                  <a:cxn ang="0">
                    <a:pos x="179" y="100"/>
                  </a:cxn>
                  <a:cxn ang="0">
                    <a:pos x="178" y="89"/>
                  </a:cxn>
                  <a:cxn ang="0">
                    <a:pos x="182" y="55"/>
                  </a:cxn>
                  <a:cxn ang="0">
                    <a:pos x="189" y="24"/>
                  </a:cxn>
                  <a:cxn ang="0">
                    <a:pos x="178" y="10"/>
                  </a:cxn>
                  <a:cxn ang="0">
                    <a:pos x="159" y="5"/>
                  </a:cxn>
                  <a:cxn ang="0">
                    <a:pos x="144" y="12"/>
                  </a:cxn>
                  <a:cxn ang="0">
                    <a:pos x="120" y="20"/>
                  </a:cxn>
                  <a:cxn ang="0">
                    <a:pos x="96" y="23"/>
                  </a:cxn>
                  <a:cxn ang="0">
                    <a:pos x="83" y="45"/>
                  </a:cxn>
                  <a:cxn ang="0">
                    <a:pos x="83" y="65"/>
                  </a:cxn>
                  <a:cxn ang="0">
                    <a:pos x="69" y="73"/>
                  </a:cxn>
                  <a:cxn ang="0">
                    <a:pos x="46" y="85"/>
                  </a:cxn>
                  <a:cxn ang="0">
                    <a:pos x="39" y="93"/>
                  </a:cxn>
                  <a:cxn ang="0">
                    <a:pos x="24" y="111"/>
                  </a:cxn>
                  <a:cxn ang="0">
                    <a:pos x="4" y="120"/>
                  </a:cxn>
                  <a:cxn ang="0">
                    <a:pos x="0" y="130"/>
                  </a:cxn>
                  <a:cxn ang="0">
                    <a:pos x="11" y="172"/>
                  </a:cxn>
                  <a:cxn ang="0">
                    <a:pos x="12" y="185"/>
                  </a:cxn>
                  <a:cxn ang="0">
                    <a:pos x="9" y="200"/>
                  </a:cxn>
                  <a:cxn ang="0">
                    <a:pos x="25" y="206"/>
                  </a:cxn>
                  <a:cxn ang="0">
                    <a:pos x="14" y="214"/>
                  </a:cxn>
                  <a:cxn ang="0">
                    <a:pos x="28" y="230"/>
                  </a:cxn>
                  <a:cxn ang="0">
                    <a:pos x="37" y="236"/>
                  </a:cxn>
                  <a:cxn ang="0">
                    <a:pos x="45" y="245"/>
                  </a:cxn>
                  <a:cxn ang="0">
                    <a:pos x="53" y="254"/>
                  </a:cxn>
                  <a:cxn ang="0">
                    <a:pos x="68" y="254"/>
                  </a:cxn>
                  <a:cxn ang="0">
                    <a:pos x="82" y="262"/>
                  </a:cxn>
                  <a:cxn ang="0">
                    <a:pos x="96" y="288"/>
                  </a:cxn>
                  <a:cxn ang="0">
                    <a:pos x="96" y="288"/>
                  </a:cxn>
                </a:cxnLst>
                <a:rect l="0" t="0" r="r" b="b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44" name="Freeform 55"/>
              <p:cNvSpPr>
                <a:spLocks/>
              </p:cNvSpPr>
              <p:nvPr/>
            </p:nvSpPr>
            <p:spPr bwMode="auto">
              <a:xfrm>
                <a:off x="987220" y="2299884"/>
                <a:ext cx="791972" cy="759876"/>
              </a:xfrm>
              <a:custGeom>
                <a:avLst/>
                <a:gdLst/>
                <a:ahLst/>
                <a:cxnLst>
                  <a:cxn ang="0">
                    <a:pos x="45" y="236"/>
                  </a:cxn>
                  <a:cxn ang="0">
                    <a:pos x="36" y="206"/>
                  </a:cxn>
                  <a:cxn ang="0">
                    <a:pos x="37" y="194"/>
                  </a:cxn>
                  <a:cxn ang="0">
                    <a:pos x="53" y="194"/>
                  </a:cxn>
                  <a:cxn ang="0">
                    <a:pos x="29" y="149"/>
                  </a:cxn>
                  <a:cxn ang="0">
                    <a:pos x="20" y="126"/>
                  </a:cxn>
                  <a:cxn ang="0">
                    <a:pos x="9" y="107"/>
                  </a:cxn>
                  <a:cxn ang="0">
                    <a:pos x="12" y="87"/>
                  </a:cxn>
                  <a:cxn ang="0">
                    <a:pos x="12" y="87"/>
                  </a:cxn>
                  <a:cxn ang="0">
                    <a:pos x="5" y="63"/>
                  </a:cxn>
                  <a:cxn ang="0">
                    <a:pos x="5" y="63"/>
                  </a:cxn>
                  <a:cxn ang="0">
                    <a:pos x="18" y="46"/>
                  </a:cxn>
                  <a:cxn ang="0">
                    <a:pos x="42" y="52"/>
                  </a:cxn>
                  <a:cxn ang="0">
                    <a:pos x="60" y="50"/>
                  </a:cxn>
                  <a:cxn ang="0">
                    <a:pos x="84" y="32"/>
                  </a:cxn>
                  <a:cxn ang="0">
                    <a:pos x="93" y="15"/>
                  </a:cxn>
                  <a:cxn ang="0">
                    <a:pos x="129" y="10"/>
                  </a:cxn>
                  <a:cxn ang="0">
                    <a:pos x="178" y="7"/>
                  </a:cxn>
                  <a:cxn ang="0">
                    <a:pos x="206" y="12"/>
                  </a:cxn>
                  <a:cxn ang="0">
                    <a:pos x="225" y="14"/>
                  </a:cxn>
                  <a:cxn ang="0">
                    <a:pos x="228" y="26"/>
                  </a:cxn>
                  <a:cxn ang="0">
                    <a:pos x="225" y="39"/>
                  </a:cxn>
                  <a:cxn ang="0">
                    <a:pos x="218" y="54"/>
                  </a:cxn>
                  <a:cxn ang="0">
                    <a:pos x="221" y="74"/>
                  </a:cxn>
                  <a:cxn ang="0">
                    <a:pos x="222" y="85"/>
                  </a:cxn>
                  <a:cxn ang="0">
                    <a:pos x="218" y="114"/>
                  </a:cxn>
                  <a:cxn ang="0">
                    <a:pos x="229" y="116"/>
                  </a:cxn>
                  <a:cxn ang="0">
                    <a:pos x="248" y="126"/>
                  </a:cxn>
                  <a:cxn ang="0">
                    <a:pos x="259" y="143"/>
                  </a:cxn>
                  <a:cxn ang="0">
                    <a:pos x="267" y="162"/>
                  </a:cxn>
                  <a:cxn ang="0">
                    <a:pos x="258" y="174"/>
                  </a:cxn>
                  <a:cxn ang="0">
                    <a:pos x="272" y="186"/>
                  </a:cxn>
                  <a:cxn ang="0">
                    <a:pos x="257" y="195"/>
                  </a:cxn>
                  <a:cxn ang="0">
                    <a:pos x="259" y="210"/>
                  </a:cxn>
                  <a:cxn ang="0">
                    <a:pos x="249" y="221"/>
                  </a:cxn>
                  <a:cxn ang="0">
                    <a:pos x="245" y="235"/>
                  </a:cxn>
                  <a:cxn ang="0">
                    <a:pos x="232" y="247"/>
                  </a:cxn>
                  <a:cxn ang="0">
                    <a:pos x="217" y="238"/>
                  </a:cxn>
                  <a:cxn ang="0">
                    <a:pos x="199" y="243"/>
                  </a:cxn>
                  <a:cxn ang="0">
                    <a:pos x="182" y="247"/>
                  </a:cxn>
                  <a:cxn ang="0">
                    <a:pos x="170" y="260"/>
                  </a:cxn>
                  <a:cxn ang="0">
                    <a:pos x="157" y="280"/>
                  </a:cxn>
                  <a:cxn ang="0">
                    <a:pos x="157" y="295"/>
                  </a:cxn>
                  <a:cxn ang="0">
                    <a:pos x="148" y="304"/>
                  </a:cxn>
                  <a:cxn ang="0">
                    <a:pos x="139" y="294"/>
                  </a:cxn>
                  <a:cxn ang="0">
                    <a:pos x="118" y="294"/>
                  </a:cxn>
                  <a:cxn ang="0">
                    <a:pos x="103" y="284"/>
                  </a:cxn>
                  <a:cxn ang="0">
                    <a:pos x="89" y="276"/>
                  </a:cxn>
                  <a:cxn ang="0">
                    <a:pos x="81" y="271"/>
                  </a:cxn>
                  <a:cxn ang="0">
                    <a:pos x="88" y="258"/>
                  </a:cxn>
                  <a:cxn ang="0">
                    <a:pos x="78" y="250"/>
                  </a:cxn>
                  <a:cxn ang="0">
                    <a:pos x="63" y="246"/>
                  </a:cxn>
                  <a:cxn ang="0">
                    <a:pos x="45" y="236"/>
                  </a:cxn>
                  <a:cxn ang="0">
                    <a:pos x="45" y="236"/>
                  </a:cxn>
                </a:cxnLst>
                <a:rect l="0" t="0" r="r" b="b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>
                  <a:defRPr/>
                </a:pPr>
                <a:endParaRPr lang="uk-UA" sz="9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45" name="Freeform 54"/>
              <p:cNvSpPr>
                <a:spLocks/>
              </p:cNvSpPr>
              <p:nvPr/>
            </p:nvSpPr>
            <p:spPr bwMode="auto">
              <a:xfrm>
                <a:off x="1396319" y="2322498"/>
                <a:ext cx="912605" cy="877476"/>
              </a:xfrm>
              <a:custGeom>
                <a:avLst/>
                <a:gdLst/>
                <a:ahLst/>
                <a:cxnLst>
                  <a:cxn ang="0">
                    <a:pos x="83" y="17"/>
                  </a:cxn>
                  <a:cxn ang="0">
                    <a:pos x="73" y="45"/>
                  </a:cxn>
                  <a:cxn ang="0">
                    <a:pos x="77" y="76"/>
                  </a:cxn>
                  <a:cxn ang="0">
                    <a:pos x="84" y="107"/>
                  </a:cxn>
                  <a:cxn ang="0">
                    <a:pos x="114" y="134"/>
                  </a:cxn>
                  <a:cxn ang="0">
                    <a:pos x="113" y="165"/>
                  </a:cxn>
                  <a:cxn ang="0">
                    <a:pos x="112" y="186"/>
                  </a:cxn>
                  <a:cxn ang="0">
                    <a:pos x="104" y="212"/>
                  </a:cxn>
                  <a:cxn ang="0">
                    <a:pos x="87" y="238"/>
                  </a:cxn>
                  <a:cxn ang="0">
                    <a:pos x="54" y="234"/>
                  </a:cxn>
                  <a:cxn ang="0">
                    <a:pos x="25" y="251"/>
                  </a:cxn>
                  <a:cxn ang="0">
                    <a:pos x="12" y="286"/>
                  </a:cxn>
                  <a:cxn ang="0">
                    <a:pos x="17" y="299"/>
                  </a:cxn>
                  <a:cxn ang="0">
                    <a:pos x="17" y="335"/>
                  </a:cxn>
                  <a:cxn ang="0">
                    <a:pos x="32" y="351"/>
                  </a:cxn>
                  <a:cxn ang="0">
                    <a:pos x="45" y="329"/>
                  </a:cxn>
                  <a:cxn ang="0">
                    <a:pos x="93" y="318"/>
                  </a:cxn>
                  <a:cxn ang="0">
                    <a:pos x="127" y="316"/>
                  </a:cxn>
                  <a:cxn ang="0">
                    <a:pos x="146" y="326"/>
                  </a:cxn>
                  <a:cxn ang="0">
                    <a:pos x="176" y="306"/>
                  </a:cxn>
                  <a:cxn ang="0">
                    <a:pos x="216" y="272"/>
                  </a:cxn>
                  <a:cxn ang="0">
                    <a:pos x="251" y="268"/>
                  </a:cxn>
                  <a:cxn ang="0">
                    <a:pos x="256" y="245"/>
                  </a:cxn>
                  <a:cxn ang="0">
                    <a:pos x="256" y="207"/>
                  </a:cxn>
                  <a:cxn ang="0">
                    <a:pos x="272" y="168"/>
                  </a:cxn>
                  <a:cxn ang="0">
                    <a:pos x="280" y="151"/>
                  </a:cxn>
                  <a:cxn ang="0">
                    <a:pos x="286" y="132"/>
                  </a:cxn>
                  <a:cxn ang="0">
                    <a:pos x="292" y="107"/>
                  </a:cxn>
                  <a:cxn ang="0">
                    <a:pos x="306" y="101"/>
                  </a:cxn>
                  <a:cxn ang="0">
                    <a:pos x="322" y="85"/>
                  </a:cxn>
                  <a:cxn ang="0">
                    <a:pos x="270" y="70"/>
                  </a:cxn>
                  <a:cxn ang="0">
                    <a:pos x="263" y="52"/>
                  </a:cxn>
                  <a:cxn ang="0">
                    <a:pos x="253" y="45"/>
                  </a:cxn>
                  <a:cxn ang="0">
                    <a:pos x="234" y="46"/>
                  </a:cxn>
                  <a:cxn ang="0">
                    <a:pos x="181" y="28"/>
                  </a:cxn>
                  <a:cxn ang="0">
                    <a:pos x="148" y="17"/>
                  </a:cxn>
                  <a:cxn ang="0">
                    <a:pos x="105" y="5"/>
                  </a:cxn>
                  <a:cxn ang="0">
                    <a:pos x="80" y="4"/>
                  </a:cxn>
                </a:cxnLst>
                <a:rect l="0" t="0" r="r" b="b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47" name="Freeform 53"/>
              <p:cNvSpPr>
                <a:spLocks/>
              </p:cNvSpPr>
              <p:nvPr/>
            </p:nvSpPr>
            <p:spPr bwMode="auto">
              <a:xfrm>
                <a:off x="1716253" y="2964774"/>
                <a:ext cx="597914" cy="976984"/>
              </a:xfrm>
              <a:custGeom>
                <a:avLst/>
                <a:gdLst/>
                <a:ahLst/>
                <a:cxnLst>
                  <a:cxn ang="0">
                    <a:pos x="138" y="12"/>
                  </a:cxn>
                  <a:cxn ang="0">
                    <a:pos x="142" y="32"/>
                  </a:cxn>
                  <a:cxn ang="0">
                    <a:pos x="146" y="45"/>
                  </a:cxn>
                  <a:cxn ang="0">
                    <a:pos x="161" y="63"/>
                  </a:cxn>
                  <a:cxn ang="0">
                    <a:pos x="178" y="68"/>
                  </a:cxn>
                  <a:cxn ang="0">
                    <a:pos x="182" y="91"/>
                  </a:cxn>
                  <a:cxn ang="0">
                    <a:pos x="178" y="111"/>
                  </a:cxn>
                  <a:cxn ang="0">
                    <a:pos x="171" y="128"/>
                  </a:cxn>
                  <a:cxn ang="0">
                    <a:pos x="183" y="149"/>
                  </a:cxn>
                  <a:cxn ang="0">
                    <a:pos x="204" y="155"/>
                  </a:cxn>
                  <a:cxn ang="0">
                    <a:pos x="199" y="166"/>
                  </a:cxn>
                  <a:cxn ang="0">
                    <a:pos x="199" y="179"/>
                  </a:cxn>
                  <a:cxn ang="0">
                    <a:pos x="195" y="191"/>
                  </a:cxn>
                  <a:cxn ang="0">
                    <a:pos x="196" y="217"/>
                  </a:cxn>
                  <a:cxn ang="0">
                    <a:pos x="203" y="251"/>
                  </a:cxn>
                  <a:cxn ang="0">
                    <a:pos x="182" y="268"/>
                  </a:cxn>
                  <a:cxn ang="0">
                    <a:pos x="153" y="274"/>
                  </a:cxn>
                  <a:cxn ang="0">
                    <a:pos x="142" y="302"/>
                  </a:cxn>
                  <a:cxn ang="0">
                    <a:pos x="140" y="358"/>
                  </a:cxn>
                  <a:cxn ang="0">
                    <a:pos x="125" y="360"/>
                  </a:cxn>
                  <a:cxn ang="0">
                    <a:pos x="98" y="368"/>
                  </a:cxn>
                  <a:cxn ang="0">
                    <a:pos x="83" y="367"/>
                  </a:cxn>
                  <a:cxn ang="0">
                    <a:pos x="70" y="361"/>
                  </a:cxn>
                  <a:cxn ang="0">
                    <a:pos x="48" y="366"/>
                  </a:cxn>
                  <a:cxn ang="0">
                    <a:pos x="48" y="381"/>
                  </a:cxn>
                  <a:cxn ang="0">
                    <a:pos x="32" y="369"/>
                  </a:cxn>
                  <a:cxn ang="0">
                    <a:pos x="32" y="369"/>
                  </a:cxn>
                  <a:cxn ang="0">
                    <a:pos x="15" y="369"/>
                  </a:cxn>
                  <a:cxn ang="0">
                    <a:pos x="15" y="369"/>
                  </a:cxn>
                  <a:cxn ang="0">
                    <a:pos x="10" y="352"/>
                  </a:cxn>
                  <a:cxn ang="0">
                    <a:pos x="4" y="315"/>
                  </a:cxn>
                  <a:cxn ang="0">
                    <a:pos x="4" y="272"/>
                  </a:cxn>
                  <a:cxn ang="0">
                    <a:pos x="8" y="237"/>
                  </a:cxn>
                  <a:cxn ang="0">
                    <a:pos x="6" y="202"/>
                  </a:cxn>
                  <a:cxn ang="0">
                    <a:pos x="7" y="183"/>
                  </a:cxn>
                  <a:cxn ang="0">
                    <a:pos x="13" y="160"/>
                  </a:cxn>
                  <a:cxn ang="0">
                    <a:pos x="14" y="149"/>
                  </a:cxn>
                  <a:cxn ang="0">
                    <a:pos x="13" y="138"/>
                  </a:cxn>
                  <a:cxn ang="0">
                    <a:pos x="17" y="104"/>
                  </a:cxn>
                  <a:cxn ang="0">
                    <a:pos x="24" y="73"/>
                  </a:cxn>
                  <a:cxn ang="0">
                    <a:pos x="32" y="69"/>
                  </a:cxn>
                  <a:cxn ang="0">
                    <a:pos x="44" y="61"/>
                  </a:cxn>
                  <a:cxn ang="0">
                    <a:pos x="62" y="49"/>
                  </a:cxn>
                  <a:cxn ang="0">
                    <a:pos x="81" y="28"/>
                  </a:cxn>
                  <a:cxn ang="0">
                    <a:pos x="102" y="15"/>
                  </a:cxn>
                  <a:cxn ang="0">
                    <a:pos x="116" y="9"/>
                  </a:cxn>
                  <a:cxn ang="0">
                    <a:pos x="138" y="12"/>
                  </a:cxn>
                  <a:cxn ang="0">
                    <a:pos x="138" y="12"/>
                  </a:cxn>
                </a:cxnLst>
                <a:rect l="0" t="0" r="r" b="b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48" name="Freeform 52"/>
              <p:cNvSpPr>
                <a:spLocks/>
              </p:cNvSpPr>
              <p:nvPr/>
            </p:nvSpPr>
            <p:spPr bwMode="auto">
              <a:xfrm>
                <a:off x="1244216" y="3797019"/>
                <a:ext cx="923095" cy="416123"/>
              </a:xfrm>
              <a:custGeom>
                <a:avLst/>
                <a:gdLst/>
                <a:ahLst/>
                <a:cxnLst>
                  <a:cxn ang="0">
                    <a:pos x="307" y="25"/>
                  </a:cxn>
                  <a:cxn ang="0">
                    <a:pos x="319" y="40"/>
                  </a:cxn>
                  <a:cxn ang="0">
                    <a:pos x="313" y="62"/>
                  </a:cxn>
                  <a:cxn ang="0">
                    <a:pos x="295" y="60"/>
                  </a:cxn>
                  <a:cxn ang="0">
                    <a:pos x="277" y="64"/>
                  </a:cxn>
                  <a:cxn ang="0">
                    <a:pos x="251" y="65"/>
                  </a:cxn>
                  <a:cxn ang="0">
                    <a:pos x="236" y="69"/>
                  </a:cxn>
                  <a:cxn ang="0">
                    <a:pos x="227" y="76"/>
                  </a:cxn>
                  <a:cxn ang="0">
                    <a:pos x="216" y="85"/>
                  </a:cxn>
                  <a:cxn ang="0">
                    <a:pos x="209" y="87"/>
                  </a:cxn>
                  <a:cxn ang="0">
                    <a:pos x="179" y="94"/>
                  </a:cxn>
                  <a:cxn ang="0">
                    <a:pos x="170" y="113"/>
                  </a:cxn>
                  <a:cxn ang="0">
                    <a:pos x="131" y="130"/>
                  </a:cxn>
                  <a:cxn ang="0">
                    <a:pos x="131" y="130"/>
                  </a:cxn>
                  <a:cxn ang="0">
                    <a:pos x="76" y="134"/>
                  </a:cxn>
                  <a:cxn ang="0">
                    <a:pos x="76" y="134"/>
                  </a:cxn>
                  <a:cxn ang="0">
                    <a:pos x="35" y="150"/>
                  </a:cxn>
                  <a:cxn ang="0">
                    <a:pos x="0" y="166"/>
                  </a:cxn>
                  <a:cxn ang="0">
                    <a:pos x="5" y="137"/>
                  </a:cxn>
                  <a:cxn ang="0">
                    <a:pos x="13" y="99"/>
                  </a:cxn>
                  <a:cxn ang="0">
                    <a:pos x="34" y="80"/>
                  </a:cxn>
                  <a:cxn ang="0">
                    <a:pos x="41" y="75"/>
                  </a:cxn>
                  <a:cxn ang="0">
                    <a:pos x="77" y="52"/>
                  </a:cxn>
                  <a:cxn ang="0">
                    <a:pos x="93" y="40"/>
                  </a:cxn>
                  <a:cxn ang="0">
                    <a:pos x="93" y="24"/>
                  </a:cxn>
                  <a:cxn ang="0">
                    <a:pos x="98" y="3"/>
                  </a:cxn>
                  <a:cxn ang="0">
                    <a:pos x="107" y="8"/>
                  </a:cxn>
                  <a:cxn ang="0">
                    <a:pos x="117" y="10"/>
                  </a:cxn>
                  <a:cxn ang="0">
                    <a:pos x="129" y="18"/>
                  </a:cxn>
                  <a:cxn ang="0">
                    <a:pos x="137" y="20"/>
                  </a:cxn>
                  <a:cxn ang="0">
                    <a:pos x="154" y="25"/>
                  </a:cxn>
                  <a:cxn ang="0">
                    <a:pos x="168" y="34"/>
                  </a:cxn>
                  <a:cxn ang="0">
                    <a:pos x="183" y="36"/>
                  </a:cxn>
                  <a:cxn ang="0">
                    <a:pos x="183" y="36"/>
                  </a:cxn>
                  <a:cxn ang="0">
                    <a:pos x="200" y="36"/>
                  </a:cxn>
                  <a:cxn ang="0">
                    <a:pos x="200" y="36"/>
                  </a:cxn>
                  <a:cxn ang="0">
                    <a:pos x="216" y="48"/>
                  </a:cxn>
                  <a:cxn ang="0">
                    <a:pos x="216" y="33"/>
                  </a:cxn>
                  <a:cxn ang="0">
                    <a:pos x="238" y="28"/>
                  </a:cxn>
                  <a:cxn ang="0">
                    <a:pos x="251" y="34"/>
                  </a:cxn>
                  <a:cxn ang="0">
                    <a:pos x="266" y="35"/>
                  </a:cxn>
                  <a:cxn ang="0">
                    <a:pos x="293" y="27"/>
                  </a:cxn>
                  <a:cxn ang="0">
                    <a:pos x="307" y="25"/>
                  </a:cxn>
                  <a:cxn ang="0">
                    <a:pos x="307" y="25"/>
                  </a:cxn>
                </a:cxnLst>
                <a:rect l="0" t="0" r="r" b="b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49" name="Freeform 112"/>
              <p:cNvSpPr>
                <a:spLocks/>
              </p:cNvSpPr>
              <p:nvPr/>
            </p:nvSpPr>
            <p:spPr bwMode="auto">
              <a:xfrm>
                <a:off x="2114863" y="3304006"/>
                <a:ext cx="907362" cy="854859"/>
              </a:xfrm>
              <a:custGeom>
                <a:avLst/>
                <a:gdLst/>
                <a:ahLst/>
                <a:cxnLst>
                  <a:cxn ang="0">
                    <a:pos x="288" y="311"/>
                  </a:cxn>
                  <a:cxn ang="0">
                    <a:pos x="274" y="322"/>
                  </a:cxn>
                  <a:cxn ang="0">
                    <a:pos x="253" y="330"/>
                  </a:cxn>
                  <a:cxn ang="0">
                    <a:pos x="235" y="329"/>
                  </a:cxn>
                  <a:cxn ang="0">
                    <a:pos x="207" y="323"/>
                  </a:cxn>
                  <a:cxn ang="0">
                    <a:pos x="196" y="325"/>
                  </a:cxn>
                  <a:cxn ang="0">
                    <a:pos x="180" y="342"/>
                  </a:cxn>
                  <a:cxn ang="0">
                    <a:pos x="157" y="315"/>
                  </a:cxn>
                  <a:cxn ang="0">
                    <a:pos x="130" y="318"/>
                  </a:cxn>
                  <a:cxn ang="0">
                    <a:pos x="123" y="322"/>
                  </a:cxn>
                  <a:cxn ang="0">
                    <a:pos x="124" y="312"/>
                  </a:cxn>
                  <a:cxn ang="0">
                    <a:pos x="111" y="315"/>
                  </a:cxn>
                  <a:cxn ang="0">
                    <a:pos x="118" y="304"/>
                  </a:cxn>
                  <a:cxn ang="0">
                    <a:pos x="111" y="296"/>
                  </a:cxn>
                  <a:cxn ang="0">
                    <a:pos x="100" y="297"/>
                  </a:cxn>
                  <a:cxn ang="0">
                    <a:pos x="84" y="294"/>
                  </a:cxn>
                  <a:cxn ang="0">
                    <a:pos x="76" y="280"/>
                  </a:cxn>
                  <a:cxn ang="0">
                    <a:pos x="52" y="261"/>
                  </a:cxn>
                  <a:cxn ang="0">
                    <a:pos x="31" y="256"/>
                  </a:cxn>
                  <a:cxn ang="0">
                    <a:pos x="5" y="260"/>
                  </a:cxn>
                  <a:cxn ang="0">
                    <a:pos x="11" y="238"/>
                  </a:cxn>
                  <a:cxn ang="0">
                    <a:pos x="0" y="223"/>
                  </a:cxn>
                  <a:cxn ang="0">
                    <a:pos x="2" y="167"/>
                  </a:cxn>
                  <a:cxn ang="0">
                    <a:pos x="13" y="139"/>
                  </a:cxn>
                  <a:cxn ang="0">
                    <a:pos x="42" y="133"/>
                  </a:cxn>
                  <a:cxn ang="0">
                    <a:pos x="63" y="116"/>
                  </a:cxn>
                  <a:cxn ang="0">
                    <a:pos x="56" y="82"/>
                  </a:cxn>
                  <a:cxn ang="0">
                    <a:pos x="55" y="56"/>
                  </a:cxn>
                  <a:cxn ang="0">
                    <a:pos x="59" y="44"/>
                  </a:cxn>
                  <a:cxn ang="0">
                    <a:pos x="59" y="31"/>
                  </a:cxn>
                  <a:cxn ang="0">
                    <a:pos x="64" y="20"/>
                  </a:cxn>
                  <a:cxn ang="0">
                    <a:pos x="101" y="21"/>
                  </a:cxn>
                  <a:cxn ang="0">
                    <a:pos x="129" y="20"/>
                  </a:cxn>
                  <a:cxn ang="0">
                    <a:pos x="146" y="18"/>
                  </a:cxn>
                  <a:cxn ang="0">
                    <a:pos x="168" y="17"/>
                  </a:cxn>
                  <a:cxn ang="0">
                    <a:pos x="179" y="7"/>
                  </a:cxn>
                  <a:cxn ang="0">
                    <a:pos x="196" y="22"/>
                  </a:cxn>
                  <a:cxn ang="0">
                    <a:pos x="196" y="39"/>
                  </a:cxn>
                  <a:cxn ang="0">
                    <a:pos x="200" y="58"/>
                  </a:cxn>
                  <a:cxn ang="0">
                    <a:pos x="229" y="56"/>
                  </a:cxn>
                  <a:cxn ang="0">
                    <a:pos x="253" y="46"/>
                  </a:cxn>
                  <a:cxn ang="0">
                    <a:pos x="259" y="66"/>
                  </a:cxn>
                  <a:cxn ang="0">
                    <a:pos x="261" y="95"/>
                  </a:cxn>
                  <a:cxn ang="0">
                    <a:pos x="258" y="109"/>
                  </a:cxn>
                  <a:cxn ang="0">
                    <a:pos x="278" y="127"/>
                  </a:cxn>
                  <a:cxn ang="0">
                    <a:pos x="273" y="153"/>
                  </a:cxn>
                  <a:cxn ang="0">
                    <a:pos x="274" y="164"/>
                  </a:cxn>
                  <a:cxn ang="0">
                    <a:pos x="279" y="181"/>
                  </a:cxn>
                  <a:cxn ang="0">
                    <a:pos x="281" y="193"/>
                  </a:cxn>
                  <a:cxn ang="0">
                    <a:pos x="291" y="205"/>
                  </a:cxn>
                  <a:cxn ang="0">
                    <a:pos x="302" y="226"/>
                  </a:cxn>
                  <a:cxn ang="0">
                    <a:pos x="309" y="241"/>
                  </a:cxn>
                  <a:cxn ang="0">
                    <a:pos x="314" y="258"/>
                  </a:cxn>
                  <a:cxn ang="0">
                    <a:pos x="317" y="270"/>
                  </a:cxn>
                  <a:cxn ang="0">
                    <a:pos x="299" y="273"/>
                  </a:cxn>
                  <a:cxn ang="0">
                    <a:pos x="286" y="283"/>
                  </a:cxn>
                  <a:cxn ang="0">
                    <a:pos x="288" y="311"/>
                  </a:cxn>
                  <a:cxn ang="0">
                    <a:pos x="288" y="311"/>
                  </a:cxn>
                </a:cxnLst>
                <a:rect l="0" t="0" r="r" b="b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0" name="Freeform 50"/>
              <p:cNvSpPr>
                <a:spLocks/>
              </p:cNvSpPr>
              <p:nvPr/>
            </p:nvSpPr>
            <p:spPr bwMode="auto">
              <a:xfrm>
                <a:off x="2088640" y="2489853"/>
                <a:ext cx="844420" cy="967938"/>
              </a:xfrm>
              <a:custGeom>
                <a:avLst/>
                <a:gdLst/>
                <a:ahLst/>
                <a:cxnLst>
                  <a:cxn ang="0">
                    <a:pos x="85" y="18"/>
                  </a:cxn>
                  <a:cxn ang="0">
                    <a:pos x="125" y="13"/>
                  </a:cxn>
                  <a:cxn ang="0">
                    <a:pos x="143" y="19"/>
                  </a:cxn>
                  <a:cxn ang="0">
                    <a:pos x="169" y="21"/>
                  </a:cxn>
                  <a:cxn ang="0">
                    <a:pos x="191" y="50"/>
                  </a:cxn>
                  <a:cxn ang="0">
                    <a:pos x="236" y="14"/>
                  </a:cxn>
                  <a:cxn ang="0">
                    <a:pos x="257" y="59"/>
                  </a:cxn>
                  <a:cxn ang="0">
                    <a:pos x="246" y="86"/>
                  </a:cxn>
                  <a:cxn ang="0">
                    <a:pos x="247" y="106"/>
                  </a:cxn>
                  <a:cxn ang="0">
                    <a:pos x="260" y="139"/>
                  </a:cxn>
                  <a:cxn ang="0">
                    <a:pos x="272" y="193"/>
                  </a:cxn>
                  <a:cxn ang="0">
                    <a:pos x="271" y="237"/>
                  </a:cxn>
                  <a:cxn ang="0">
                    <a:pos x="290" y="278"/>
                  </a:cxn>
                  <a:cxn ang="0">
                    <a:pos x="293" y="318"/>
                  </a:cxn>
                  <a:cxn ang="0">
                    <a:pos x="260" y="346"/>
                  </a:cxn>
                  <a:cxn ang="0">
                    <a:pos x="263" y="372"/>
                  </a:cxn>
                  <a:cxn ang="0">
                    <a:pos x="209" y="385"/>
                  </a:cxn>
                  <a:cxn ang="0">
                    <a:pos x="205" y="348"/>
                  </a:cxn>
                  <a:cxn ang="0">
                    <a:pos x="177" y="343"/>
                  </a:cxn>
                  <a:cxn ang="0">
                    <a:pos x="138" y="346"/>
                  </a:cxn>
                  <a:cxn ang="0">
                    <a:pos x="73" y="346"/>
                  </a:cxn>
                  <a:cxn ang="0">
                    <a:pos x="40" y="319"/>
                  </a:cxn>
                  <a:cxn ang="0">
                    <a:pos x="51" y="282"/>
                  </a:cxn>
                  <a:cxn ang="0">
                    <a:pos x="30" y="254"/>
                  </a:cxn>
                  <a:cxn ang="0">
                    <a:pos x="11" y="223"/>
                  </a:cxn>
                  <a:cxn ang="0">
                    <a:pos x="8" y="194"/>
                  </a:cxn>
                  <a:cxn ang="0">
                    <a:pos x="11" y="161"/>
                  </a:cxn>
                  <a:cxn ang="0">
                    <a:pos x="14" y="115"/>
                  </a:cxn>
                  <a:cxn ang="0">
                    <a:pos x="27" y="102"/>
                  </a:cxn>
                  <a:cxn ang="0">
                    <a:pos x="35" y="85"/>
                  </a:cxn>
                  <a:cxn ang="0">
                    <a:pos x="45" y="56"/>
                  </a:cxn>
                  <a:cxn ang="0">
                    <a:pos x="57" y="53"/>
                  </a:cxn>
                  <a:cxn ang="0">
                    <a:pos x="72" y="32"/>
                  </a:cxn>
                </a:cxnLst>
                <a:rect l="0" t="0" r="r" b="b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1" name="Freeform 49"/>
              <p:cNvSpPr>
                <a:spLocks/>
              </p:cNvSpPr>
              <p:nvPr/>
            </p:nvSpPr>
            <p:spPr bwMode="auto">
              <a:xfrm>
                <a:off x="2786204" y="2557697"/>
                <a:ext cx="923095" cy="1085538"/>
              </a:xfrm>
              <a:custGeom>
                <a:avLst/>
                <a:gdLst/>
                <a:ahLst/>
                <a:cxnLst>
                  <a:cxn ang="0">
                    <a:pos x="14" y="333"/>
                  </a:cxn>
                  <a:cxn ang="0">
                    <a:pos x="32" y="310"/>
                  </a:cxn>
                  <a:cxn ang="0">
                    <a:pos x="42" y="267"/>
                  </a:cxn>
                  <a:cxn ang="0">
                    <a:pos x="34" y="227"/>
                  </a:cxn>
                  <a:cxn ang="0">
                    <a:pos x="22" y="191"/>
                  </a:cxn>
                  <a:cxn ang="0">
                    <a:pos x="25" y="143"/>
                  </a:cxn>
                  <a:cxn ang="0">
                    <a:pos x="22" y="92"/>
                  </a:cxn>
                  <a:cxn ang="0">
                    <a:pos x="1" y="79"/>
                  </a:cxn>
                  <a:cxn ang="0">
                    <a:pos x="0" y="59"/>
                  </a:cxn>
                  <a:cxn ang="0">
                    <a:pos x="39" y="18"/>
                  </a:cxn>
                  <a:cxn ang="0">
                    <a:pos x="72" y="18"/>
                  </a:cxn>
                  <a:cxn ang="0">
                    <a:pos x="115" y="21"/>
                  </a:cxn>
                  <a:cxn ang="0">
                    <a:pos x="146" y="53"/>
                  </a:cxn>
                  <a:cxn ang="0">
                    <a:pos x="145" y="83"/>
                  </a:cxn>
                  <a:cxn ang="0">
                    <a:pos x="144" y="104"/>
                  </a:cxn>
                  <a:cxn ang="0">
                    <a:pos x="164" y="127"/>
                  </a:cxn>
                  <a:cxn ang="0">
                    <a:pos x="190" y="148"/>
                  </a:cxn>
                  <a:cxn ang="0">
                    <a:pos x="217" y="171"/>
                  </a:cxn>
                  <a:cxn ang="0">
                    <a:pos x="270" y="189"/>
                  </a:cxn>
                  <a:cxn ang="0">
                    <a:pos x="300" y="180"/>
                  </a:cxn>
                  <a:cxn ang="0">
                    <a:pos x="314" y="210"/>
                  </a:cxn>
                  <a:cxn ang="0">
                    <a:pos x="322" y="240"/>
                  </a:cxn>
                  <a:cxn ang="0">
                    <a:pos x="294" y="269"/>
                  </a:cxn>
                  <a:cxn ang="0">
                    <a:pos x="272" y="311"/>
                  </a:cxn>
                  <a:cxn ang="0">
                    <a:pos x="230" y="309"/>
                  </a:cxn>
                  <a:cxn ang="0">
                    <a:pos x="209" y="357"/>
                  </a:cxn>
                  <a:cxn ang="0">
                    <a:pos x="190" y="392"/>
                  </a:cxn>
                  <a:cxn ang="0">
                    <a:pos x="135" y="406"/>
                  </a:cxn>
                  <a:cxn ang="0">
                    <a:pos x="120" y="422"/>
                  </a:cxn>
                  <a:cxn ang="0">
                    <a:pos x="89" y="416"/>
                  </a:cxn>
                  <a:cxn ang="0">
                    <a:pos x="52" y="432"/>
                  </a:cxn>
                  <a:cxn ang="0">
                    <a:pos x="21" y="408"/>
                  </a:cxn>
                  <a:cxn ang="0">
                    <a:pos x="22" y="365"/>
                  </a:cxn>
                  <a:cxn ang="0">
                    <a:pos x="17" y="346"/>
                  </a:cxn>
                </a:cxnLst>
                <a:rect l="0" t="0" r="r" b="b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2" name="Freeform 48"/>
              <p:cNvSpPr>
                <a:spLocks/>
              </p:cNvSpPr>
              <p:nvPr/>
            </p:nvSpPr>
            <p:spPr bwMode="auto">
              <a:xfrm>
                <a:off x="3179570" y="2168713"/>
                <a:ext cx="938828" cy="954370"/>
              </a:xfrm>
              <a:custGeom>
                <a:avLst/>
                <a:gdLst/>
                <a:ahLst/>
                <a:cxnLst>
                  <a:cxn ang="0">
                    <a:pos x="185" y="376"/>
                  </a:cxn>
                  <a:cxn ang="0">
                    <a:pos x="175" y="364"/>
                  </a:cxn>
                  <a:cxn ang="0">
                    <a:pos x="176" y="341"/>
                  </a:cxn>
                  <a:cxn ang="0">
                    <a:pos x="161" y="334"/>
                  </a:cxn>
                  <a:cxn ang="0">
                    <a:pos x="146" y="335"/>
                  </a:cxn>
                  <a:cxn ang="0">
                    <a:pos x="131" y="343"/>
                  </a:cxn>
                  <a:cxn ang="0">
                    <a:pos x="86" y="342"/>
                  </a:cxn>
                  <a:cxn ang="0">
                    <a:pos x="78" y="324"/>
                  </a:cxn>
                  <a:cxn ang="0">
                    <a:pos x="73" y="312"/>
                  </a:cxn>
                  <a:cxn ang="0">
                    <a:pos x="51" y="302"/>
                  </a:cxn>
                  <a:cxn ang="0">
                    <a:pos x="29" y="295"/>
                  </a:cxn>
                  <a:cxn ang="0">
                    <a:pos x="25" y="281"/>
                  </a:cxn>
                  <a:cxn ang="0">
                    <a:pos x="17" y="268"/>
                  </a:cxn>
                  <a:cxn ang="0">
                    <a:pos x="5" y="258"/>
                  </a:cxn>
                  <a:cxn ang="0">
                    <a:pos x="5" y="258"/>
                  </a:cxn>
                  <a:cxn ang="0">
                    <a:pos x="6" y="237"/>
                  </a:cxn>
                  <a:cxn ang="0">
                    <a:pos x="7" y="207"/>
                  </a:cxn>
                  <a:cxn ang="0">
                    <a:pos x="7" y="207"/>
                  </a:cxn>
                  <a:cxn ang="0">
                    <a:pos x="14" y="200"/>
                  </a:cxn>
                  <a:cxn ang="0">
                    <a:pos x="11" y="163"/>
                  </a:cxn>
                  <a:cxn ang="0">
                    <a:pos x="14" y="130"/>
                  </a:cxn>
                  <a:cxn ang="0">
                    <a:pos x="29" y="97"/>
                  </a:cxn>
                  <a:cxn ang="0">
                    <a:pos x="43" y="82"/>
                  </a:cxn>
                  <a:cxn ang="0">
                    <a:pos x="52" y="66"/>
                  </a:cxn>
                  <a:cxn ang="0">
                    <a:pos x="78" y="60"/>
                  </a:cxn>
                  <a:cxn ang="0">
                    <a:pos x="91" y="59"/>
                  </a:cxn>
                  <a:cxn ang="0">
                    <a:pos x="131" y="56"/>
                  </a:cxn>
                  <a:cxn ang="0">
                    <a:pos x="161" y="61"/>
                  </a:cxn>
                  <a:cxn ang="0">
                    <a:pos x="176" y="65"/>
                  </a:cxn>
                  <a:cxn ang="0">
                    <a:pos x="203" y="52"/>
                  </a:cxn>
                  <a:cxn ang="0">
                    <a:pos x="210" y="24"/>
                  </a:cxn>
                  <a:cxn ang="0">
                    <a:pos x="231" y="16"/>
                  </a:cxn>
                  <a:cxn ang="0">
                    <a:pos x="257" y="24"/>
                  </a:cxn>
                  <a:cxn ang="0">
                    <a:pos x="295" y="8"/>
                  </a:cxn>
                  <a:cxn ang="0">
                    <a:pos x="327" y="4"/>
                  </a:cxn>
                  <a:cxn ang="0">
                    <a:pos x="319" y="24"/>
                  </a:cxn>
                  <a:cxn ang="0">
                    <a:pos x="318" y="49"/>
                  </a:cxn>
                  <a:cxn ang="0">
                    <a:pos x="330" y="61"/>
                  </a:cxn>
                  <a:cxn ang="0">
                    <a:pos x="321" y="71"/>
                  </a:cxn>
                  <a:cxn ang="0">
                    <a:pos x="319" y="79"/>
                  </a:cxn>
                  <a:cxn ang="0">
                    <a:pos x="307" y="87"/>
                  </a:cxn>
                  <a:cxn ang="0">
                    <a:pos x="292" y="103"/>
                  </a:cxn>
                  <a:cxn ang="0">
                    <a:pos x="295" y="132"/>
                  </a:cxn>
                  <a:cxn ang="0">
                    <a:pos x="297" y="151"/>
                  </a:cxn>
                  <a:cxn ang="0">
                    <a:pos x="293" y="175"/>
                  </a:cxn>
                  <a:cxn ang="0">
                    <a:pos x="285" y="189"/>
                  </a:cxn>
                  <a:cxn ang="0">
                    <a:pos x="289" y="216"/>
                  </a:cxn>
                  <a:cxn ang="0">
                    <a:pos x="278" y="230"/>
                  </a:cxn>
                  <a:cxn ang="0">
                    <a:pos x="285" y="243"/>
                  </a:cxn>
                  <a:cxn ang="0">
                    <a:pos x="294" y="251"/>
                  </a:cxn>
                  <a:cxn ang="0">
                    <a:pos x="306" y="245"/>
                  </a:cxn>
                  <a:cxn ang="0">
                    <a:pos x="306" y="264"/>
                  </a:cxn>
                  <a:cxn ang="0">
                    <a:pos x="297" y="284"/>
                  </a:cxn>
                  <a:cxn ang="0">
                    <a:pos x="300" y="309"/>
                  </a:cxn>
                  <a:cxn ang="0">
                    <a:pos x="292" y="339"/>
                  </a:cxn>
                  <a:cxn ang="0">
                    <a:pos x="279" y="357"/>
                  </a:cxn>
                  <a:cxn ang="0">
                    <a:pos x="259" y="368"/>
                  </a:cxn>
                  <a:cxn ang="0">
                    <a:pos x="227" y="368"/>
                  </a:cxn>
                  <a:cxn ang="0">
                    <a:pos x="205" y="368"/>
                  </a:cxn>
                  <a:cxn ang="0">
                    <a:pos x="185" y="376"/>
                  </a:cxn>
                  <a:cxn ang="0">
                    <a:pos x="185" y="376"/>
                  </a:cxn>
                </a:cxnLst>
                <a:rect l="0" t="0" r="r" b="b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3" name="Freeform 47"/>
              <p:cNvSpPr>
                <a:spLocks/>
              </p:cNvSpPr>
              <p:nvPr/>
            </p:nvSpPr>
            <p:spPr bwMode="auto">
              <a:xfrm>
                <a:off x="3955809" y="2150621"/>
                <a:ext cx="912605" cy="1044831"/>
              </a:xfrm>
              <a:custGeom>
                <a:avLst/>
                <a:gdLst/>
                <a:ahLst/>
                <a:cxnLst>
                  <a:cxn ang="0">
                    <a:pos x="45" y="33"/>
                  </a:cxn>
                  <a:cxn ang="0">
                    <a:pos x="56" y="70"/>
                  </a:cxn>
                  <a:cxn ang="0">
                    <a:pos x="45" y="88"/>
                  </a:cxn>
                  <a:cxn ang="0">
                    <a:pos x="18" y="112"/>
                  </a:cxn>
                  <a:cxn ang="0">
                    <a:pos x="23" y="160"/>
                  </a:cxn>
                  <a:cxn ang="0">
                    <a:pos x="11" y="198"/>
                  </a:cxn>
                  <a:cxn ang="0">
                    <a:pos x="4" y="239"/>
                  </a:cxn>
                  <a:cxn ang="0">
                    <a:pos x="20" y="260"/>
                  </a:cxn>
                  <a:cxn ang="0">
                    <a:pos x="32" y="273"/>
                  </a:cxn>
                  <a:cxn ang="0">
                    <a:pos x="26" y="318"/>
                  </a:cxn>
                  <a:cxn ang="0">
                    <a:pos x="35" y="348"/>
                  </a:cxn>
                  <a:cxn ang="0">
                    <a:pos x="90" y="355"/>
                  </a:cxn>
                  <a:cxn ang="0">
                    <a:pos x="123" y="352"/>
                  </a:cxn>
                  <a:cxn ang="0">
                    <a:pos x="155" y="342"/>
                  </a:cxn>
                  <a:cxn ang="0">
                    <a:pos x="173" y="391"/>
                  </a:cxn>
                  <a:cxn ang="0">
                    <a:pos x="183" y="407"/>
                  </a:cxn>
                  <a:cxn ang="0">
                    <a:pos x="212" y="410"/>
                  </a:cxn>
                  <a:cxn ang="0">
                    <a:pos x="253" y="400"/>
                  </a:cxn>
                  <a:cxn ang="0">
                    <a:pos x="300" y="376"/>
                  </a:cxn>
                  <a:cxn ang="0">
                    <a:pos x="313" y="361"/>
                  </a:cxn>
                  <a:cxn ang="0">
                    <a:pos x="293" y="322"/>
                  </a:cxn>
                  <a:cxn ang="0">
                    <a:pos x="288" y="283"/>
                  </a:cxn>
                  <a:cxn ang="0">
                    <a:pos x="276" y="248"/>
                  </a:cxn>
                  <a:cxn ang="0">
                    <a:pos x="254" y="229"/>
                  </a:cxn>
                  <a:cxn ang="0">
                    <a:pos x="198" y="218"/>
                  </a:cxn>
                  <a:cxn ang="0">
                    <a:pos x="164" y="211"/>
                  </a:cxn>
                  <a:cxn ang="0">
                    <a:pos x="150" y="189"/>
                  </a:cxn>
                  <a:cxn ang="0">
                    <a:pos x="138" y="145"/>
                  </a:cxn>
                  <a:cxn ang="0">
                    <a:pos x="168" y="116"/>
                  </a:cxn>
                  <a:cxn ang="0">
                    <a:pos x="127" y="69"/>
                  </a:cxn>
                  <a:cxn ang="0">
                    <a:pos x="102" y="20"/>
                  </a:cxn>
                  <a:cxn ang="0">
                    <a:pos x="66" y="26"/>
                  </a:cxn>
                  <a:cxn ang="0">
                    <a:pos x="53" y="13"/>
                  </a:cxn>
                </a:cxnLst>
                <a:rect l="0" t="0" r="r" b="b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4" name="Freeform 46"/>
              <p:cNvSpPr>
                <a:spLocks/>
              </p:cNvSpPr>
              <p:nvPr/>
            </p:nvSpPr>
            <p:spPr bwMode="auto">
              <a:xfrm>
                <a:off x="3698809" y="2996437"/>
                <a:ext cx="1132889" cy="827721"/>
              </a:xfrm>
              <a:custGeom>
                <a:avLst/>
                <a:gdLst/>
                <a:ahLst/>
                <a:cxnLst>
                  <a:cxn ang="0">
                    <a:pos x="326" y="70"/>
                  </a:cxn>
                  <a:cxn ang="0">
                    <a:pos x="324" y="92"/>
                  </a:cxn>
                  <a:cxn ang="0">
                    <a:pos x="327" y="112"/>
                  </a:cxn>
                  <a:cxn ang="0">
                    <a:pos x="349" y="123"/>
                  </a:cxn>
                  <a:cxn ang="0">
                    <a:pos x="363" y="137"/>
                  </a:cxn>
                  <a:cxn ang="0">
                    <a:pos x="383" y="152"/>
                  </a:cxn>
                  <a:cxn ang="0">
                    <a:pos x="393" y="160"/>
                  </a:cxn>
                  <a:cxn ang="0">
                    <a:pos x="390" y="185"/>
                  </a:cxn>
                  <a:cxn ang="0">
                    <a:pos x="383" y="198"/>
                  </a:cxn>
                  <a:cxn ang="0">
                    <a:pos x="380" y="216"/>
                  </a:cxn>
                  <a:cxn ang="0">
                    <a:pos x="359" y="221"/>
                  </a:cxn>
                  <a:cxn ang="0">
                    <a:pos x="343" y="246"/>
                  </a:cxn>
                  <a:cxn ang="0">
                    <a:pos x="315" y="250"/>
                  </a:cxn>
                  <a:cxn ang="0">
                    <a:pos x="285" y="265"/>
                  </a:cxn>
                  <a:cxn ang="0">
                    <a:pos x="270" y="284"/>
                  </a:cxn>
                  <a:cxn ang="0">
                    <a:pos x="266" y="301"/>
                  </a:cxn>
                  <a:cxn ang="0">
                    <a:pos x="263" y="321"/>
                  </a:cxn>
                  <a:cxn ang="0">
                    <a:pos x="242" y="318"/>
                  </a:cxn>
                  <a:cxn ang="0">
                    <a:pos x="219" y="307"/>
                  </a:cxn>
                  <a:cxn ang="0">
                    <a:pos x="185" y="299"/>
                  </a:cxn>
                  <a:cxn ang="0">
                    <a:pos x="168" y="298"/>
                  </a:cxn>
                  <a:cxn ang="0">
                    <a:pos x="150" y="284"/>
                  </a:cxn>
                  <a:cxn ang="0">
                    <a:pos x="136" y="273"/>
                  </a:cxn>
                  <a:cxn ang="0">
                    <a:pos x="126" y="260"/>
                  </a:cxn>
                  <a:cxn ang="0">
                    <a:pos x="96" y="249"/>
                  </a:cxn>
                  <a:cxn ang="0">
                    <a:pos x="84" y="240"/>
                  </a:cxn>
                  <a:cxn ang="0">
                    <a:pos x="75" y="210"/>
                  </a:cxn>
                  <a:cxn ang="0">
                    <a:pos x="74" y="188"/>
                  </a:cxn>
                  <a:cxn ang="0">
                    <a:pos x="73" y="174"/>
                  </a:cxn>
                  <a:cxn ang="0">
                    <a:pos x="58" y="161"/>
                  </a:cxn>
                  <a:cxn ang="0">
                    <a:pos x="43" y="143"/>
                  </a:cxn>
                  <a:cxn ang="0">
                    <a:pos x="36" y="128"/>
                  </a:cxn>
                  <a:cxn ang="0">
                    <a:pos x="34" y="110"/>
                  </a:cxn>
                  <a:cxn ang="0">
                    <a:pos x="24" y="99"/>
                  </a:cxn>
                  <a:cxn ang="0">
                    <a:pos x="15" y="79"/>
                  </a:cxn>
                  <a:cxn ang="0">
                    <a:pos x="0" y="63"/>
                  </a:cxn>
                  <a:cxn ang="0">
                    <a:pos x="3" y="46"/>
                  </a:cxn>
                  <a:cxn ang="0">
                    <a:pos x="22" y="38"/>
                  </a:cxn>
                  <a:cxn ang="0">
                    <a:pos x="44" y="38"/>
                  </a:cxn>
                  <a:cxn ang="0">
                    <a:pos x="76" y="38"/>
                  </a:cxn>
                  <a:cxn ang="0">
                    <a:pos x="96" y="27"/>
                  </a:cxn>
                  <a:cxn ang="0">
                    <a:pos x="109" y="9"/>
                  </a:cxn>
                  <a:cxn ang="0">
                    <a:pos x="126" y="9"/>
                  </a:cxn>
                  <a:cxn ang="0">
                    <a:pos x="146" y="13"/>
                  </a:cxn>
                  <a:cxn ang="0">
                    <a:pos x="181" y="16"/>
                  </a:cxn>
                  <a:cxn ang="0">
                    <a:pos x="198" y="13"/>
                  </a:cxn>
                  <a:cxn ang="0">
                    <a:pos x="214" y="13"/>
                  </a:cxn>
                  <a:cxn ang="0">
                    <a:pos x="229" y="13"/>
                  </a:cxn>
                  <a:cxn ang="0">
                    <a:pos x="246" y="3"/>
                  </a:cxn>
                  <a:cxn ang="0">
                    <a:pos x="256" y="30"/>
                  </a:cxn>
                  <a:cxn ang="0">
                    <a:pos x="264" y="52"/>
                  </a:cxn>
                  <a:cxn ang="0">
                    <a:pos x="271" y="59"/>
                  </a:cxn>
                  <a:cxn ang="0">
                    <a:pos x="274" y="68"/>
                  </a:cxn>
                  <a:cxn ang="0">
                    <a:pos x="282" y="78"/>
                  </a:cxn>
                  <a:cxn ang="0">
                    <a:pos x="303" y="71"/>
                  </a:cxn>
                  <a:cxn ang="0">
                    <a:pos x="326" y="70"/>
                  </a:cxn>
                  <a:cxn ang="0">
                    <a:pos x="326" y="70"/>
                  </a:cxn>
                </a:cxnLst>
                <a:rect l="0" t="0" r="r" b="b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5" name="Freeform 45"/>
              <p:cNvSpPr>
                <a:spLocks/>
              </p:cNvSpPr>
              <p:nvPr/>
            </p:nvSpPr>
            <p:spPr bwMode="auto">
              <a:xfrm>
                <a:off x="4579945" y="2978345"/>
                <a:ext cx="1090930" cy="918182"/>
              </a:xfrm>
              <a:custGeom>
                <a:avLst/>
                <a:gdLst/>
                <a:ahLst/>
                <a:cxnLst>
                  <a:cxn ang="0">
                    <a:pos x="102" y="33"/>
                  </a:cxn>
                  <a:cxn ang="0">
                    <a:pos x="79" y="45"/>
                  </a:cxn>
                  <a:cxn ang="0">
                    <a:pos x="51" y="61"/>
                  </a:cxn>
                  <a:cxn ang="0">
                    <a:pos x="32" y="69"/>
                  </a:cxn>
                  <a:cxn ang="0">
                    <a:pos x="14" y="77"/>
                  </a:cxn>
                  <a:cxn ang="0">
                    <a:pos x="12" y="100"/>
                  </a:cxn>
                  <a:cxn ang="0">
                    <a:pos x="15" y="120"/>
                  </a:cxn>
                  <a:cxn ang="0">
                    <a:pos x="37" y="131"/>
                  </a:cxn>
                  <a:cxn ang="0">
                    <a:pos x="51" y="145"/>
                  </a:cxn>
                  <a:cxn ang="0">
                    <a:pos x="71" y="160"/>
                  </a:cxn>
                  <a:cxn ang="0">
                    <a:pos x="81" y="168"/>
                  </a:cxn>
                  <a:cxn ang="0">
                    <a:pos x="78" y="193"/>
                  </a:cxn>
                  <a:cxn ang="0">
                    <a:pos x="71" y="206"/>
                  </a:cxn>
                  <a:cxn ang="0">
                    <a:pos x="68" y="224"/>
                  </a:cxn>
                  <a:cxn ang="0">
                    <a:pos x="47" y="229"/>
                  </a:cxn>
                  <a:cxn ang="0">
                    <a:pos x="31" y="254"/>
                  </a:cxn>
                  <a:cxn ang="0">
                    <a:pos x="64" y="265"/>
                  </a:cxn>
                  <a:cxn ang="0">
                    <a:pos x="102" y="287"/>
                  </a:cxn>
                  <a:cxn ang="0">
                    <a:pos x="132" y="287"/>
                  </a:cxn>
                  <a:cxn ang="0">
                    <a:pos x="157" y="303"/>
                  </a:cxn>
                  <a:cxn ang="0">
                    <a:pos x="175" y="321"/>
                  </a:cxn>
                  <a:cxn ang="0">
                    <a:pos x="185" y="333"/>
                  </a:cxn>
                  <a:cxn ang="0">
                    <a:pos x="195" y="349"/>
                  </a:cxn>
                  <a:cxn ang="0">
                    <a:pos x="208" y="349"/>
                  </a:cxn>
                  <a:cxn ang="0">
                    <a:pos x="228" y="339"/>
                  </a:cxn>
                  <a:cxn ang="0">
                    <a:pos x="245" y="338"/>
                  </a:cxn>
                  <a:cxn ang="0">
                    <a:pos x="241" y="316"/>
                  </a:cxn>
                  <a:cxn ang="0">
                    <a:pos x="254" y="310"/>
                  </a:cxn>
                  <a:cxn ang="0">
                    <a:pos x="263" y="303"/>
                  </a:cxn>
                  <a:cxn ang="0">
                    <a:pos x="278" y="309"/>
                  </a:cxn>
                  <a:cxn ang="0">
                    <a:pos x="284" y="298"/>
                  </a:cxn>
                  <a:cxn ang="0">
                    <a:pos x="296" y="299"/>
                  </a:cxn>
                  <a:cxn ang="0">
                    <a:pos x="304" y="282"/>
                  </a:cxn>
                  <a:cxn ang="0">
                    <a:pos x="310" y="267"/>
                  </a:cxn>
                  <a:cxn ang="0">
                    <a:pos x="328" y="245"/>
                  </a:cxn>
                  <a:cxn ang="0">
                    <a:pos x="343" y="231"/>
                  </a:cxn>
                  <a:cxn ang="0">
                    <a:pos x="332" y="226"/>
                  </a:cxn>
                  <a:cxn ang="0">
                    <a:pos x="348" y="221"/>
                  </a:cxn>
                  <a:cxn ang="0">
                    <a:pos x="371" y="218"/>
                  </a:cxn>
                  <a:cxn ang="0">
                    <a:pos x="373" y="200"/>
                  </a:cxn>
                  <a:cxn ang="0">
                    <a:pos x="373" y="169"/>
                  </a:cxn>
                  <a:cxn ang="0">
                    <a:pos x="376" y="153"/>
                  </a:cxn>
                  <a:cxn ang="0">
                    <a:pos x="380" y="134"/>
                  </a:cxn>
                  <a:cxn ang="0">
                    <a:pos x="377" y="120"/>
                  </a:cxn>
                  <a:cxn ang="0">
                    <a:pos x="384" y="103"/>
                  </a:cxn>
                  <a:cxn ang="0">
                    <a:pos x="381" y="87"/>
                  </a:cxn>
                  <a:cxn ang="0">
                    <a:pos x="374" y="80"/>
                  </a:cxn>
                  <a:cxn ang="0">
                    <a:pos x="346" y="65"/>
                  </a:cxn>
                  <a:cxn ang="0">
                    <a:pos x="328" y="41"/>
                  </a:cxn>
                  <a:cxn ang="0">
                    <a:pos x="318" y="21"/>
                  </a:cxn>
                  <a:cxn ang="0">
                    <a:pos x="308" y="8"/>
                  </a:cxn>
                  <a:cxn ang="0">
                    <a:pos x="292" y="3"/>
                  </a:cxn>
                  <a:cxn ang="0">
                    <a:pos x="259" y="22"/>
                  </a:cxn>
                  <a:cxn ang="0">
                    <a:pos x="230" y="35"/>
                  </a:cxn>
                  <a:cxn ang="0">
                    <a:pos x="219" y="45"/>
                  </a:cxn>
                  <a:cxn ang="0">
                    <a:pos x="203" y="45"/>
                  </a:cxn>
                  <a:cxn ang="0">
                    <a:pos x="184" y="39"/>
                  </a:cxn>
                  <a:cxn ang="0">
                    <a:pos x="166" y="30"/>
                  </a:cxn>
                  <a:cxn ang="0">
                    <a:pos x="141" y="14"/>
                  </a:cxn>
                  <a:cxn ang="0">
                    <a:pos x="112" y="25"/>
                  </a:cxn>
                  <a:cxn ang="0">
                    <a:pos x="102" y="33"/>
                  </a:cxn>
                  <a:cxn ang="0">
                    <a:pos x="102" y="33"/>
                  </a:cxn>
                </a:cxnLst>
                <a:rect l="0" t="0" r="r" b="b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6" name="Freeform 44"/>
              <p:cNvSpPr>
                <a:spLocks/>
              </p:cNvSpPr>
              <p:nvPr/>
            </p:nvSpPr>
            <p:spPr bwMode="auto">
              <a:xfrm>
                <a:off x="5623673" y="3118559"/>
                <a:ext cx="818198" cy="976984"/>
              </a:xfrm>
              <a:custGeom>
                <a:avLst/>
                <a:gdLst/>
                <a:ahLst/>
                <a:cxnLst>
                  <a:cxn ang="0">
                    <a:pos x="4" y="161"/>
                  </a:cxn>
                  <a:cxn ang="0">
                    <a:pos x="5" y="143"/>
                  </a:cxn>
                  <a:cxn ang="0">
                    <a:pos x="5" y="112"/>
                  </a:cxn>
                  <a:cxn ang="0">
                    <a:pos x="8" y="96"/>
                  </a:cxn>
                  <a:cxn ang="0">
                    <a:pos x="12" y="77"/>
                  </a:cxn>
                  <a:cxn ang="0">
                    <a:pos x="9" y="63"/>
                  </a:cxn>
                  <a:cxn ang="0">
                    <a:pos x="16" y="46"/>
                  </a:cxn>
                  <a:cxn ang="0">
                    <a:pos x="13" y="30"/>
                  </a:cxn>
                  <a:cxn ang="0">
                    <a:pos x="20" y="29"/>
                  </a:cxn>
                  <a:cxn ang="0">
                    <a:pos x="30" y="15"/>
                  </a:cxn>
                  <a:cxn ang="0">
                    <a:pos x="38" y="2"/>
                  </a:cxn>
                  <a:cxn ang="0">
                    <a:pos x="56" y="15"/>
                  </a:cxn>
                  <a:cxn ang="0">
                    <a:pos x="73" y="17"/>
                  </a:cxn>
                  <a:cxn ang="0">
                    <a:pos x="96" y="26"/>
                  </a:cxn>
                  <a:cxn ang="0">
                    <a:pos x="115" y="33"/>
                  </a:cxn>
                  <a:cxn ang="0">
                    <a:pos x="137" y="33"/>
                  </a:cxn>
                  <a:cxn ang="0">
                    <a:pos x="155" y="36"/>
                  </a:cxn>
                  <a:cxn ang="0">
                    <a:pos x="176" y="45"/>
                  </a:cxn>
                  <a:cxn ang="0">
                    <a:pos x="192" y="46"/>
                  </a:cxn>
                  <a:cxn ang="0">
                    <a:pos x="201" y="56"/>
                  </a:cxn>
                  <a:cxn ang="0">
                    <a:pos x="221" y="67"/>
                  </a:cxn>
                  <a:cxn ang="0">
                    <a:pos x="242" y="68"/>
                  </a:cxn>
                  <a:cxn ang="0">
                    <a:pos x="260" y="58"/>
                  </a:cxn>
                  <a:cxn ang="0">
                    <a:pos x="261" y="72"/>
                  </a:cxn>
                  <a:cxn ang="0">
                    <a:pos x="265" y="98"/>
                  </a:cxn>
                  <a:cxn ang="0">
                    <a:pos x="258" y="146"/>
                  </a:cxn>
                  <a:cxn ang="0">
                    <a:pos x="235" y="165"/>
                  </a:cxn>
                  <a:cxn ang="0">
                    <a:pos x="232" y="183"/>
                  </a:cxn>
                  <a:cxn ang="0">
                    <a:pos x="251" y="191"/>
                  </a:cxn>
                  <a:cxn ang="0">
                    <a:pos x="262" y="195"/>
                  </a:cxn>
                  <a:cxn ang="0">
                    <a:pos x="269" y="202"/>
                  </a:cxn>
                  <a:cxn ang="0">
                    <a:pos x="254" y="205"/>
                  </a:cxn>
                  <a:cxn ang="0">
                    <a:pos x="236" y="213"/>
                  </a:cxn>
                  <a:cxn ang="0">
                    <a:pos x="232" y="238"/>
                  </a:cxn>
                  <a:cxn ang="0">
                    <a:pos x="243" y="249"/>
                  </a:cxn>
                  <a:cxn ang="0">
                    <a:pos x="259" y="268"/>
                  </a:cxn>
                  <a:cxn ang="0">
                    <a:pos x="265" y="290"/>
                  </a:cxn>
                  <a:cxn ang="0">
                    <a:pos x="269" y="297"/>
                  </a:cxn>
                  <a:cxn ang="0">
                    <a:pos x="269" y="319"/>
                  </a:cxn>
                  <a:cxn ang="0">
                    <a:pos x="262" y="364"/>
                  </a:cxn>
                  <a:cxn ang="0">
                    <a:pos x="247" y="386"/>
                  </a:cxn>
                  <a:cxn ang="0">
                    <a:pos x="194" y="389"/>
                  </a:cxn>
                  <a:cxn ang="0">
                    <a:pos x="170" y="390"/>
                  </a:cxn>
                  <a:cxn ang="0">
                    <a:pos x="170" y="390"/>
                  </a:cxn>
                  <a:cxn ang="0">
                    <a:pos x="170" y="378"/>
                  </a:cxn>
                  <a:cxn ang="0">
                    <a:pos x="170" y="378"/>
                  </a:cxn>
                  <a:cxn ang="0">
                    <a:pos x="154" y="362"/>
                  </a:cxn>
                  <a:cxn ang="0">
                    <a:pos x="137" y="356"/>
                  </a:cxn>
                  <a:cxn ang="0">
                    <a:pos x="111" y="343"/>
                  </a:cxn>
                  <a:cxn ang="0">
                    <a:pos x="89" y="304"/>
                  </a:cxn>
                  <a:cxn ang="0">
                    <a:pos x="73" y="295"/>
                  </a:cxn>
                  <a:cxn ang="0">
                    <a:pos x="64" y="272"/>
                  </a:cxn>
                  <a:cxn ang="0">
                    <a:pos x="62" y="251"/>
                  </a:cxn>
                  <a:cxn ang="0">
                    <a:pos x="60" y="238"/>
                  </a:cxn>
                  <a:cxn ang="0">
                    <a:pos x="53" y="222"/>
                  </a:cxn>
                  <a:cxn ang="0">
                    <a:pos x="39" y="209"/>
                  </a:cxn>
                  <a:cxn ang="0">
                    <a:pos x="30" y="201"/>
                  </a:cxn>
                  <a:cxn ang="0">
                    <a:pos x="30" y="185"/>
                  </a:cxn>
                  <a:cxn ang="0">
                    <a:pos x="19" y="173"/>
                  </a:cxn>
                  <a:cxn ang="0">
                    <a:pos x="10" y="169"/>
                  </a:cxn>
                  <a:cxn ang="0">
                    <a:pos x="4" y="161"/>
                  </a:cxn>
                  <a:cxn ang="0">
                    <a:pos x="4" y="161"/>
                  </a:cxn>
                </a:cxnLst>
                <a:rect l="0" t="0" r="r" b="b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57" name="Freeform 42"/>
              <p:cNvSpPr>
                <a:spLocks/>
              </p:cNvSpPr>
              <p:nvPr/>
            </p:nvSpPr>
            <p:spPr bwMode="auto">
              <a:xfrm>
                <a:off x="4008257" y="3598004"/>
                <a:ext cx="1368906" cy="800585"/>
              </a:xfrm>
              <a:custGeom>
                <a:avLst/>
                <a:gdLst/>
                <a:ahLst/>
                <a:cxnLst>
                  <a:cxn ang="0">
                    <a:pos x="429" y="234"/>
                  </a:cxn>
                  <a:cxn ang="0">
                    <a:pos x="404" y="236"/>
                  </a:cxn>
                  <a:cxn ang="0">
                    <a:pos x="382" y="229"/>
                  </a:cxn>
                  <a:cxn ang="0">
                    <a:pos x="374" y="196"/>
                  </a:cxn>
                  <a:cxn ang="0">
                    <a:pos x="354" y="196"/>
                  </a:cxn>
                  <a:cxn ang="0">
                    <a:pos x="317" y="192"/>
                  </a:cxn>
                  <a:cxn ang="0">
                    <a:pos x="272" y="192"/>
                  </a:cxn>
                  <a:cxn ang="0">
                    <a:pos x="262" y="192"/>
                  </a:cxn>
                  <a:cxn ang="0">
                    <a:pos x="229" y="206"/>
                  </a:cxn>
                  <a:cxn ang="0">
                    <a:pos x="238" y="224"/>
                  </a:cxn>
                  <a:cxn ang="0">
                    <a:pos x="239" y="247"/>
                  </a:cxn>
                  <a:cxn ang="0">
                    <a:pos x="242" y="287"/>
                  </a:cxn>
                  <a:cxn ang="0">
                    <a:pos x="220" y="298"/>
                  </a:cxn>
                  <a:cxn ang="0">
                    <a:pos x="175" y="309"/>
                  </a:cxn>
                  <a:cxn ang="0">
                    <a:pos x="136" y="314"/>
                  </a:cxn>
                  <a:cxn ang="0">
                    <a:pos x="110" y="313"/>
                  </a:cxn>
                  <a:cxn ang="0">
                    <a:pos x="66" y="308"/>
                  </a:cxn>
                  <a:cxn ang="0">
                    <a:pos x="46" y="309"/>
                  </a:cxn>
                  <a:cxn ang="0">
                    <a:pos x="20" y="302"/>
                  </a:cxn>
                  <a:cxn ang="0">
                    <a:pos x="14" y="275"/>
                  </a:cxn>
                  <a:cxn ang="0">
                    <a:pos x="12" y="239"/>
                  </a:cxn>
                  <a:cxn ang="0">
                    <a:pos x="35" y="207"/>
                  </a:cxn>
                  <a:cxn ang="0">
                    <a:pos x="66" y="162"/>
                  </a:cxn>
                  <a:cxn ang="0">
                    <a:pos x="69" y="121"/>
                  </a:cxn>
                  <a:cxn ang="0">
                    <a:pos x="86" y="115"/>
                  </a:cxn>
                  <a:cxn ang="0">
                    <a:pos x="99" y="100"/>
                  </a:cxn>
                  <a:cxn ang="0">
                    <a:pos x="80" y="79"/>
                  </a:cxn>
                  <a:cxn ang="0">
                    <a:pos x="100" y="82"/>
                  </a:cxn>
                  <a:cxn ang="0">
                    <a:pos x="110" y="65"/>
                  </a:cxn>
                  <a:cxn ang="0">
                    <a:pos x="154" y="79"/>
                  </a:cxn>
                  <a:cxn ang="0">
                    <a:pos x="161" y="42"/>
                  </a:cxn>
                  <a:cxn ang="0">
                    <a:pos x="206" y="8"/>
                  </a:cxn>
                  <a:cxn ang="0">
                    <a:pos x="267" y="15"/>
                  </a:cxn>
                  <a:cxn ang="0">
                    <a:pos x="335" y="37"/>
                  </a:cxn>
                  <a:cxn ang="0">
                    <a:pos x="378" y="71"/>
                  </a:cxn>
                  <a:cxn ang="0">
                    <a:pos x="398" y="99"/>
                  </a:cxn>
                  <a:cxn ang="0">
                    <a:pos x="431" y="89"/>
                  </a:cxn>
                  <a:cxn ang="0">
                    <a:pos x="455" y="97"/>
                  </a:cxn>
                  <a:cxn ang="0">
                    <a:pos x="473" y="97"/>
                  </a:cxn>
                  <a:cxn ang="0">
                    <a:pos x="469" y="142"/>
                  </a:cxn>
                  <a:cxn ang="0">
                    <a:pos x="477" y="167"/>
                  </a:cxn>
                  <a:cxn ang="0">
                    <a:pos x="463" y="192"/>
                  </a:cxn>
                  <a:cxn ang="0">
                    <a:pos x="443" y="206"/>
                  </a:cxn>
                  <a:cxn ang="0">
                    <a:pos x="444" y="233"/>
                  </a:cxn>
                </a:cxnLst>
                <a:rect l="0" t="0" r="r" b="b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2843899" y="3154743"/>
                <a:ext cx="1122399" cy="823199"/>
              </a:xfrm>
              <a:custGeom>
                <a:avLst/>
                <a:gdLst/>
                <a:ahLst/>
                <a:cxnLst>
                  <a:cxn ang="0">
                    <a:pos x="385" y="177"/>
                  </a:cxn>
                  <a:cxn ang="0">
                    <a:pos x="389" y="206"/>
                  </a:cxn>
                  <a:cxn ang="0">
                    <a:pos x="389" y="228"/>
                  </a:cxn>
                  <a:cxn ang="0">
                    <a:pos x="372" y="230"/>
                  </a:cxn>
                  <a:cxn ang="0">
                    <a:pos x="355" y="235"/>
                  </a:cxn>
                  <a:cxn ang="0">
                    <a:pos x="342" y="217"/>
                  </a:cxn>
                  <a:cxn ang="0">
                    <a:pos x="332" y="209"/>
                  </a:cxn>
                  <a:cxn ang="0">
                    <a:pos x="319" y="221"/>
                  </a:cxn>
                  <a:cxn ang="0">
                    <a:pos x="311" y="233"/>
                  </a:cxn>
                  <a:cxn ang="0">
                    <a:pos x="301" y="242"/>
                  </a:cxn>
                  <a:cxn ang="0">
                    <a:pos x="288" y="244"/>
                  </a:cxn>
                  <a:cxn ang="0">
                    <a:pos x="275" y="243"/>
                  </a:cxn>
                  <a:cxn ang="0">
                    <a:pos x="250" y="240"/>
                  </a:cxn>
                  <a:cxn ang="0">
                    <a:pos x="238" y="252"/>
                  </a:cxn>
                  <a:cxn ang="0">
                    <a:pos x="230" y="270"/>
                  </a:cxn>
                  <a:cxn ang="0">
                    <a:pos x="209" y="274"/>
                  </a:cxn>
                  <a:cxn ang="0">
                    <a:pos x="192" y="273"/>
                  </a:cxn>
                  <a:cxn ang="0">
                    <a:pos x="178" y="273"/>
                  </a:cxn>
                  <a:cxn ang="0">
                    <a:pos x="139" y="272"/>
                  </a:cxn>
                  <a:cxn ang="0">
                    <a:pos x="127" y="286"/>
                  </a:cxn>
                  <a:cxn ang="0">
                    <a:pos x="122" y="300"/>
                  </a:cxn>
                  <a:cxn ang="0">
                    <a:pos x="115" y="306"/>
                  </a:cxn>
                  <a:cxn ang="0">
                    <a:pos x="87" y="320"/>
                  </a:cxn>
                  <a:cxn ang="0">
                    <a:pos x="59" y="330"/>
                  </a:cxn>
                  <a:cxn ang="0">
                    <a:pos x="56" y="318"/>
                  </a:cxn>
                  <a:cxn ang="0">
                    <a:pos x="51" y="301"/>
                  </a:cxn>
                  <a:cxn ang="0">
                    <a:pos x="44" y="286"/>
                  </a:cxn>
                  <a:cxn ang="0">
                    <a:pos x="33" y="265"/>
                  </a:cxn>
                  <a:cxn ang="0">
                    <a:pos x="23" y="253"/>
                  </a:cxn>
                  <a:cxn ang="0">
                    <a:pos x="21" y="241"/>
                  </a:cxn>
                  <a:cxn ang="0">
                    <a:pos x="16" y="224"/>
                  </a:cxn>
                  <a:cxn ang="0">
                    <a:pos x="15" y="213"/>
                  </a:cxn>
                  <a:cxn ang="0">
                    <a:pos x="20" y="187"/>
                  </a:cxn>
                  <a:cxn ang="0">
                    <a:pos x="31" y="193"/>
                  </a:cxn>
                  <a:cxn ang="0">
                    <a:pos x="47" y="185"/>
                  </a:cxn>
                  <a:cxn ang="0">
                    <a:pos x="68" y="177"/>
                  </a:cxn>
                  <a:cxn ang="0">
                    <a:pos x="82" y="177"/>
                  </a:cxn>
                  <a:cxn ang="0">
                    <a:pos x="99" y="183"/>
                  </a:cxn>
                  <a:cxn ang="0">
                    <a:pos x="104" y="173"/>
                  </a:cxn>
                  <a:cxn ang="0">
                    <a:pos x="114" y="167"/>
                  </a:cxn>
                  <a:cxn ang="0">
                    <a:pos x="144" y="166"/>
                  </a:cxn>
                  <a:cxn ang="0">
                    <a:pos x="169" y="153"/>
                  </a:cxn>
                  <a:cxn ang="0">
                    <a:pos x="187" y="135"/>
                  </a:cxn>
                  <a:cxn ang="0">
                    <a:pos x="188" y="118"/>
                  </a:cxn>
                  <a:cxn ang="0">
                    <a:pos x="194" y="90"/>
                  </a:cxn>
                  <a:cxn ang="0">
                    <a:pos x="209" y="70"/>
                  </a:cxn>
                  <a:cxn ang="0">
                    <a:pos x="227" y="69"/>
                  </a:cxn>
                  <a:cxn ang="0">
                    <a:pos x="251" y="72"/>
                  </a:cxn>
                  <a:cxn ang="0">
                    <a:pos x="268" y="46"/>
                  </a:cxn>
                  <a:cxn ang="0">
                    <a:pos x="273" y="30"/>
                  </a:cxn>
                  <a:cxn ang="0">
                    <a:pos x="284" y="17"/>
                  </a:cxn>
                  <a:cxn ang="0">
                    <a:pos x="301" y="0"/>
                  </a:cxn>
                  <a:cxn ang="0">
                    <a:pos x="316" y="16"/>
                  </a:cxn>
                  <a:cxn ang="0">
                    <a:pos x="325" y="36"/>
                  </a:cxn>
                  <a:cxn ang="0">
                    <a:pos x="335" y="47"/>
                  </a:cxn>
                  <a:cxn ang="0">
                    <a:pos x="337" y="65"/>
                  </a:cxn>
                  <a:cxn ang="0">
                    <a:pos x="344" y="80"/>
                  </a:cxn>
                  <a:cxn ang="0">
                    <a:pos x="359" y="98"/>
                  </a:cxn>
                  <a:cxn ang="0">
                    <a:pos x="374" y="111"/>
                  </a:cxn>
                  <a:cxn ang="0">
                    <a:pos x="375" y="125"/>
                  </a:cxn>
                  <a:cxn ang="0">
                    <a:pos x="376" y="147"/>
                  </a:cxn>
                  <a:cxn ang="0">
                    <a:pos x="385" y="177"/>
                  </a:cxn>
                  <a:cxn ang="0">
                    <a:pos x="385" y="177"/>
                  </a:cxn>
                </a:cxnLst>
                <a:rect l="0" t="0" r="r" b="b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59" name="Freeform 40"/>
              <p:cNvSpPr>
                <a:spLocks/>
              </p:cNvSpPr>
              <p:nvPr/>
            </p:nvSpPr>
            <p:spPr bwMode="auto">
              <a:xfrm>
                <a:off x="2896348" y="3598004"/>
                <a:ext cx="1421355" cy="710124"/>
              </a:xfrm>
              <a:custGeom>
                <a:avLst/>
                <a:gdLst/>
                <a:ahLst/>
                <a:cxnLst>
                  <a:cxn ang="0">
                    <a:pos x="375" y="231"/>
                  </a:cxn>
                  <a:cxn ang="0">
                    <a:pos x="328" y="267"/>
                  </a:cxn>
                  <a:cxn ang="0">
                    <a:pos x="289" y="271"/>
                  </a:cxn>
                  <a:cxn ang="0">
                    <a:pos x="263" y="256"/>
                  </a:cxn>
                  <a:cxn ang="0">
                    <a:pos x="246" y="225"/>
                  </a:cxn>
                  <a:cxn ang="0">
                    <a:pos x="218" y="219"/>
                  </a:cxn>
                  <a:cxn ang="0">
                    <a:pos x="181" y="201"/>
                  </a:cxn>
                  <a:cxn ang="0">
                    <a:pos x="119" y="200"/>
                  </a:cxn>
                  <a:cxn ang="0">
                    <a:pos x="74" y="204"/>
                  </a:cxn>
                  <a:cxn ang="0">
                    <a:pos x="26" y="190"/>
                  </a:cxn>
                  <a:cxn ang="0">
                    <a:pos x="10" y="166"/>
                  </a:cxn>
                  <a:cxn ang="0">
                    <a:pos x="41" y="154"/>
                  </a:cxn>
                  <a:cxn ang="0">
                    <a:pos x="97" y="129"/>
                  </a:cxn>
                  <a:cxn ang="0">
                    <a:pos x="109" y="109"/>
                  </a:cxn>
                  <a:cxn ang="0">
                    <a:pos x="160" y="96"/>
                  </a:cxn>
                  <a:cxn ang="0">
                    <a:pos x="191" y="97"/>
                  </a:cxn>
                  <a:cxn ang="0">
                    <a:pos x="220" y="75"/>
                  </a:cxn>
                  <a:cxn ang="0">
                    <a:pos x="257" y="66"/>
                  </a:cxn>
                  <a:cxn ang="0">
                    <a:pos x="283" y="65"/>
                  </a:cxn>
                  <a:cxn ang="0">
                    <a:pos x="301" y="44"/>
                  </a:cxn>
                  <a:cxn ang="0">
                    <a:pos x="324" y="40"/>
                  </a:cxn>
                  <a:cxn ang="0">
                    <a:pos x="354" y="53"/>
                  </a:cxn>
                  <a:cxn ang="0">
                    <a:pos x="371" y="29"/>
                  </a:cxn>
                  <a:cxn ang="0">
                    <a:pos x="379" y="9"/>
                  </a:cxn>
                  <a:cxn ang="0">
                    <a:pos x="419" y="33"/>
                  </a:cxn>
                  <a:cxn ang="0">
                    <a:pos x="451" y="58"/>
                  </a:cxn>
                  <a:cxn ang="0">
                    <a:pos x="502" y="67"/>
                  </a:cxn>
                  <a:cxn ang="0">
                    <a:pos x="492" y="84"/>
                  </a:cxn>
                  <a:cxn ang="0">
                    <a:pos x="472" y="81"/>
                  </a:cxn>
                  <a:cxn ang="0">
                    <a:pos x="491" y="102"/>
                  </a:cxn>
                  <a:cxn ang="0">
                    <a:pos x="478" y="117"/>
                  </a:cxn>
                  <a:cxn ang="0">
                    <a:pos x="461" y="123"/>
                  </a:cxn>
                  <a:cxn ang="0">
                    <a:pos x="458" y="164"/>
                  </a:cxn>
                  <a:cxn ang="0">
                    <a:pos x="427" y="209"/>
                  </a:cxn>
                  <a:cxn ang="0">
                    <a:pos x="403" y="227"/>
                  </a:cxn>
                </a:cxnLst>
                <a:rect l="0" t="0" r="r" b="b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0" name="Freeform 39"/>
              <p:cNvSpPr>
                <a:spLocks/>
              </p:cNvSpPr>
              <p:nvPr/>
            </p:nvSpPr>
            <p:spPr bwMode="auto">
              <a:xfrm>
                <a:off x="2340393" y="4014127"/>
                <a:ext cx="1132889" cy="1365968"/>
              </a:xfrm>
              <a:custGeom>
                <a:avLst/>
                <a:gdLst/>
                <a:ahLst/>
                <a:cxnLst>
                  <a:cxn ang="0">
                    <a:pos x="117" y="19"/>
                  </a:cxn>
                  <a:cxn ang="0">
                    <a:pos x="156" y="23"/>
                  </a:cxn>
                  <a:cxn ang="0">
                    <a:pos x="195" y="16"/>
                  </a:cxn>
                  <a:cxn ang="0">
                    <a:pos x="223" y="1"/>
                  </a:cxn>
                  <a:cxn ang="0">
                    <a:pos x="269" y="15"/>
                  </a:cxn>
                  <a:cxn ang="0">
                    <a:pos x="264" y="47"/>
                  </a:cxn>
                  <a:cxn ang="0">
                    <a:pos x="281" y="93"/>
                  </a:cxn>
                  <a:cxn ang="0">
                    <a:pos x="331" y="118"/>
                  </a:cxn>
                  <a:cxn ang="0">
                    <a:pos x="337" y="166"/>
                  </a:cxn>
                  <a:cxn ang="0">
                    <a:pos x="368" y="190"/>
                  </a:cxn>
                  <a:cxn ang="0">
                    <a:pos x="373" y="228"/>
                  </a:cxn>
                  <a:cxn ang="0">
                    <a:pos x="366" y="247"/>
                  </a:cxn>
                  <a:cxn ang="0">
                    <a:pos x="380" y="286"/>
                  </a:cxn>
                  <a:cxn ang="0">
                    <a:pos x="336" y="299"/>
                  </a:cxn>
                  <a:cxn ang="0">
                    <a:pos x="317" y="342"/>
                  </a:cxn>
                  <a:cxn ang="0">
                    <a:pos x="296" y="379"/>
                  </a:cxn>
                  <a:cxn ang="0">
                    <a:pos x="283" y="357"/>
                  </a:cxn>
                  <a:cxn ang="0">
                    <a:pos x="272" y="346"/>
                  </a:cxn>
                  <a:cxn ang="0">
                    <a:pos x="251" y="351"/>
                  </a:cxn>
                  <a:cxn ang="0">
                    <a:pos x="265" y="360"/>
                  </a:cxn>
                  <a:cxn ang="0">
                    <a:pos x="280" y="379"/>
                  </a:cxn>
                  <a:cxn ang="0">
                    <a:pos x="278" y="405"/>
                  </a:cxn>
                  <a:cxn ang="0">
                    <a:pos x="248" y="426"/>
                  </a:cxn>
                  <a:cxn ang="0">
                    <a:pos x="234" y="434"/>
                  </a:cxn>
                  <a:cxn ang="0">
                    <a:pos x="206" y="450"/>
                  </a:cxn>
                  <a:cxn ang="0">
                    <a:pos x="191" y="463"/>
                  </a:cxn>
                  <a:cxn ang="0">
                    <a:pos x="190" y="448"/>
                  </a:cxn>
                  <a:cxn ang="0">
                    <a:pos x="187" y="438"/>
                  </a:cxn>
                  <a:cxn ang="0">
                    <a:pos x="183" y="485"/>
                  </a:cxn>
                  <a:cxn ang="0">
                    <a:pos x="199" y="519"/>
                  </a:cxn>
                  <a:cxn ang="0">
                    <a:pos x="180" y="517"/>
                  </a:cxn>
                  <a:cxn ang="0">
                    <a:pos x="119" y="513"/>
                  </a:cxn>
                  <a:cxn ang="0">
                    <a:pos x="91" y="531"/>
                  </a:cxn>
                  <a:cxn ang="0">
                    <a:pos x="80" y="522"/>
                  </a:cxn>
                  <a:cxn ang="0">
                    <a:pos x="47" y="534"/>
                  </a:cxn>
                  <a:cxn ang="0">
                    <a:pos x="7" y="497"/>
                  </a:cxn>
                  <a:cxn ang="0">
                    <a:pos x="19" y="485"/>
                  </a:cxn>
                  <a:cxn ang="0">
                    <a:pos x="42" y="462"/>
                  </a:cxn>
                  <a:cxn ang="0">
                    <a:pos x="64" y="431"/>
                  </a:cxn>
                  <a:cxn ang="0">
                    <a:pos x="89" y="402"/>
                  </a:cxn>
                  <a:cxn ang="0">
                    <a:pos x="103" y="375"/>
                  </a:cxn>
                  <a:cxn ang="0">
                    <a:pos x="97" y="347"/>
                  </a:cxn>
                  <a:cxn ang="0">
                    <a:pos x="108" y="310"/>
                  </a:cxn>
                  <a:cxn ang="0">
                    <a:pos x="135" y="320"/>
                  </a:cxn>
                  <a:cxn ang="0">
                    <a:pos x="150" y="319"/>
                  </a:cxn>
                  <a:cxn ang="0">
                    <a:pos x="178" y="324"/>
                  </a:cxn>
                  <a:cxn ang="0">
                    <a:pos x="210" y="331"/>
                  </a:cxn>
                  <a:cxn ang="0">
                    <a:pos x="248" y="330"/>
                  </a:cxn>
                  <a:cxn ang="0">
                    <a:pos x="219" y="303"/>
                  </a:cxn>
                  <a:cxn ang="0">
                    <a:pos x="226" y="265"/>
                  </a:cxn>
                  <a:cxn ang="0">
                    <a:pos x="183" y="226"/>
                  </a:cxn>
                  <a:cxn ang="0">
                    <a:pos x="185" y="206"/>
                  </a:cxn>
                  <a:cxn ang="0">
                    <a:pos x="174" y="197"/>
                  </a:cxn>
                  <a:cxn ang="0">
                    <a:pos x="172" y="158"/>
                  </a:cxn>
                  <a:cxn ang="0">
                    <a:pos x="132" y="138"/>
                  </a:cxn>
                  <a:cxn ang="0">
                    <a:pos x="135" y="96"/>
                  </a:cxn>
                  <a:cxn ang="0">
                    <a:pos x="138" y="71"/>
                  </a:cxn>
                  <a:cxn ang="0">
                    <a:pos x="120" y="41"/>
                  </a:cxn>
                  <a:cxn ang="0">
                    <a:pos x="101" y="35"/>
                  </a:cxn>
                </a:cxnLst>
                <a:rect l="0" t="0" r="r" b="b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1" name="Freeform 38"/>
              <p:cNvSpPr>
                <a:spLocks/>
              </p:cNvSpPr>
              <p:nvPr/>
            </p:nvSpPr>
            <p:spPr bwMode="auto">
              <a:xfrm>
                <a:off x="3053694" y="4045790"/>
                <a:ext cx="1038482" cy="764398"/>
              </a:xfrm>
              <a:custGeom>
                <a:avLst/>
                <a:gdLst/>
                <a:ahLst/>
                <a:cxnLst>
                  <a:cxn ang="0">
                    <a:pos x="121" y="277"/>
                  </a:cxn>
                  <a:cxn ang="0">
                    <a:pos x="107" y="244"/>
                  </a:cxn>
                  <a:cxn ang="0">
                    <a:pos x="136" y="211"/>
                  </a:cxn>
                  <a:cxn ang="0">
                    <a:pos x="107" y="184"/>
                  </a:cxn>
                  <a:cxn ang="0">
                    <a:pos x="81" y="150"/>
                  </a:cxn>
                  <a:cxn ang="0">
                    <a:pos x="52" y="118"/>
                  </a:cxn>
                  <a:cxn ang="0">
                    <a:pos x="20" y="85"/>
                  </a:cxn>
                  <a:cxn ang="0">
                    <a:pos x="13" y="31"/>
                  </a:cxn>
                  <a:cxn ang="0">
                    <a:pos x="48" y="20"/>
                  </a:cxn>
                  <a:cxn ang="0">
                    <a:pos x="96" y="16"/>
                  </a:cxn>
                  <a:cxn ang="0">
                    <a:pos x="147" y="28"/>
                  </a:cxn>
                  <a:cxn ang="0">
                    <a:pos x="182" y="31"/>
                  </a:cxn>
                  <a:cxn ang="0">
                    <a:pos x="198" y="59"/>
                  </a:cxn>
                  <a:cxn ang="0">
                    <a:pos x="217" y="86"/>
                  </a:cxn>
                  <a:cxn ang="0">
                    <a:pos x="249" y="86"/>
                  </a:cxn>
                  <a:cxn ang="0">
                    <a:pos x="303" y="68"/>
                  </a:cxn>
                  <a:cxn ang="0">
                    <a:pos x="348" y="46"/>
                  </a:cxn>
                  <a:cxn ang="0">
                    <a:pos x="352" y="75"/>
                  </a:cxn>
                  <a:cxn ang="0">
                    <a:pos x="348" y="110"/>
                  </a:cxn>
                  <a:cxn ang="0">
                    <a:pos x="361" y="140"/>
                  </a:cxn>
                  <a:cxn ang="0">
                    <a:pos x="348" y="156"/>
                  </a:cxn>
                  <a:cxn ang="0">
                    <a:pos x="362" y="181"/>
                  </a:cxn>
                  <a:cxn ang="0">
                    <a:pos x="340" y="215"/>
                  </a:cxn>
                  <a:cxn ang="0">
                    <a:pos x="341" y="233"/>
                  </a:cxn>
                  <a:cxn ang="0">
                    <a:pos x="327" y="250"/>
                  </a:cxn>
                  <a:cxn ang="0">
                    <a:pos x="312" y="258"/>
                  </a:cxn>
                  <a:cxn ang="0">
                    <a:pos x="269" y="266"/>
                  </a:cxn>
                  <a:cxn ang="0">
                    <a:pos x="224" y="280"/>
                  </a:cxn>
                  <a:cxn ang="0">
                    <a:pos x="214" y="273"/>
                  </a:cxn>
                  <a:cxn ang="0">
                    <a:pos x="191" y="294"/>
                  </a:cxn>
                  <a:cxn ang="0">
                    <a:pos x="166" y="299"/>
                  </a:cxn>
                  <a:cxn ang="0">
                    <a:pos x="174" y="274"/>
                  </a:cxn>
                  <a:cxn ang="0">
                    <a:pos x="127" y="294"/>
                  </a:cxn>
                </a:cxnLst>
                <a:rect l="0" t="0" r="r" b="b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2" name="Freeform 37"/>
              <p:cNvSpPr>
                <a:spLocks/>
              </p:cNvSpPr>
              <p:nvPr/>
            </p:nvSpPr>
            <p:spPr bwMode="auto">
              <a:xfrm>
                <a:off x="4459315" y="4054836"/>
                <a:ext cx="1054215" cy="859384"/>
              </a:xfrm>
              <a:custGeom>
                <a:avLst/>
                <a:gdLst/>
                <a:ahLst/>
                <a:cxnLst>
                  <a:cxn ang="0">
                    <a:pos x="15" y="128"/>
                  </a:cxn>
                  <a:cxn ang="0">
                    <a:pos x="60" y="117"/>
                  </a:cxn>
                  <a:cxn ang="0">
                    <a:pos x="82" y="106"/>
                  </a:cxn>
                  <a:cxn ang="0">
                    <a:pos x="79" y="66"/>
                  </a:cxn>
                  <a:cxn ang="0">
                    <a:pos x="78" y="43"/>
                  </a:cxn>
                  <a:cxn ang="0">
                    <a:pos x="69" y="25"/>
                  </a:cxn>
                  <a:cxn ang="0">
                    <a:pos x="102" y="11"/>
                  </a:cxn>
                  <a:cxn ang="0">
                    <a:pos x="112" y="11"/>
                  </a:cxn>
                  <a:cxn ang="0">
                    <a:pos x="157" y="11"/>
                  </a:cxn>
                  <a:cxn ang="0">
                    <a:pos x="194" y="15"/>
                  </a:cxn>
                  <a:cxn ang="0">
                    <a:pos x="214" y="15"/>
                  </a:cxn>
                  <a:cxn ang="0">
                    <a:pos x="222" y="48"/>
                  </a:cxn>
                  <a:cxn ang="0">
                    <a:pos x="245" y="55"/>
                  </a:cxn>
                  <a:cxn ang="0">
                    <a:pos x="269" y="53"/>
                  </a:cxn>
                  <a:cxn ang="0">
                    <a:pos x="290" y="59"/>
                  </a:cxn>
                  <a:cxn ang="0">
                    <a:pos x="308" y="89"/>
                  </a:cxn>
                  <a:cxn ang="0">
                    <a:pos x="338" y="100"/>
                  </a:cxn>
                  <a:cxn ang="0">
                    <a:pos x="366" y="121"/>
                  </a:cxn>
                  <a:cxn ang="0">
                    <a:pos x="354" y="135"/>
                  </a:cxn>
                  <a:cxn ang="0">
                    <a:pos x="334" y="154"/>
                  </a:cxn>
                  <a:cxn ang="0">
                    <a:pos x="347" y="186"/>
                  </a:cxn>
                  <a:cxn ang="0">
                    <a:pos x="358" y="204"/>
                  </a:cxn>
                  <a:cxn ang="0">
                    <a:pos x="328" y="245"/>
                  </a:cxn>
                  <a:cxn ang="0">
                    <a:pos x="234" y="267"/>
                  </a:cxn>
                  <a:cxn ang="0">
                    <a:pos x="178" y="309"/>
                  </a:cxn>
                  <a:cxn ang="0">
                    <a:pos x="152" y="333"/>
                  </a:cxn>
                  <a:cxn ang="0">
                    <a:pos x="145" y="322"/>
                  </a:cxn>
                  <a:cxn ang="0">
                    <a:pos x="125" y="343"/>
                  </a:cxn>
                  <a:cxn ang="0">
                    <a:pos x="101" y="311"/>
                  </a:cxn>
                  <a:cxn ang="0">
                    <a:pos x="72" y="287"/>
                  </a:cxn>
                  <a:cxn ang="0">
                    <a:pos x="65" y="264"/>
                  </a:cxn>
                  <a:cxn ang="0">
                    <a:pos x="70" y="237"/>
                  </a:cxn>
                  <a:cxn ang="0">
                    <a:pos x="50" y="220"/>
                  </a:cxn>
                  <a:cxn ang="0">
                    <a:pos x="37" y="176"/>
                  </a:cxn>
                  <a:cxn ang="0">
                    <a:pos x="9" y="158"/>
                  </a:cxn>
                  <a:cxn ang="0">
                    <a:pos x="0" y="133"/>
                  </a:cxn>
                </a:cxnLst>
                <a:rect l="0" t="0" r="r" b="b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3" name="Freeform 36"/>
              <p:cNvSpPr>
                <a:spLocks/>
              </p:cNvSpPr>
              <p:nvPr/>
            </p:nvSpPr>
            <p:spPr bwMode="auto">
              <a:xfrm>
                <a:off x="3620138" y="4335267"/>
                <a:ext cx="1195827" cy="728213"/>
              </a:xfrm>
              <a:custGeom>
                <a:avLst/>
                <a:gdLst/>
                <a:ahLst/>
                <a:cxnLst>
                  <a:cxn ang="0">
                    <a:pos x="45" y="162"/>
                  </a:cxn>
                  <a:cxn ang="0">
                    <a:pos x="89" y="147"/>
                  </a:cxn>
                  <a:cxn ang="0">
                    <a:pos x="130" y="142"/>
                  </a:cxn>
                  <a:cxn ang="0">
                    <a:pos x="145" y="125"/>
                  </a:cxn>
                  <a:cxn ang="0">
                    <a:pos x="155" y="110"/>
                  </a:cxn>
                  <a:cxn ang="0">
                    <a:pos x="147" y="81"/>
                  </a:cxn>
                  <a:cxn ang="0">
                    <a:pos x="160" y="46"/>
                  </a:cxn>
                  <a:cxn ang="0">
                    <a:pos x="152" y="34"/>
                  </a:cxn>
                  <a:cxn ang="0">
                    <a:pos x="156" y="8"/>
                  </a:cxn>
                  <a:cxn ang="0">
                    <a:pos x="182" y="15"/>
                  </a:cxn>
                  <a:cxn ang="0">
                    <a:pos x="202" y="14"/>
                  </a:cxn>
                  <a:cxn ang="0">
                    <a:pos x="246" y="19"/>
                  </a:cxn>
                  <a:cxn ang="0">
                    <a:pos x="272" y="20"/>
                  </a:cxn>
                  <a:cxn ang="0">
                    <a:pos x="305" y="45"/>
                  </a:cxn>
                  <a:cxn ang="0">
                    <a:pos x="333" y="63"/>
                  </a:cxn>
                  <a:cxn ang="0">
                    <a:pos x="346" y="107"/>
                  </a:cxn>
                  <a:cxn ang="0">
                    <a:pos x="366" y="124"/>
                  </a:cxn>
                  <a:cxn ang="0">
                    <a:pos x="361" y="151"/>
                  </a:cxn>
                  <a:cxn ang="0">
                    <a:pos x="368" y="174"/>
                  </a:cxn>
                  <a:cxn ang="0">
                    <a:pos x="397" y="198"/>
                  </a:cxn>
                  <a:cxn ang="0">
                    <a:pos x="421" y="230"/>
                  </a:cxn>
                  <a:cxn ang="0">
                    <a:pos x="386" y="261"/>
                  </a:cxn>
                  <a:cxn ang="0">
                    <a:pos x="360" y="258"/>
                  </a:cxn>
                  <a:cxn ang="0">
                    <a:pos x="316" y="249"/>
                  </a:cxn>
                  <a:cxn ang="0">
                    <a:pos x="291" y="252"/>
                  </a:cxn>
                  <a:cxn ang="0">
                    <a:pos x="277" y="248"/>
                  </a:cxn>
                  <a:cxn ang="0">
                    <a:pos x="250" y="252"/>
                  </a:cxn>
                  <a:cxn ang="0">
                    <a:pos x="234" y="253"/>
                  </a:cxn>
                  <a:cxn ang="0">
                    <a:pos x="227" y="275"/>
                  </a:cxn>
                  <a:cxn ang="0">
                    <a:pos x="184" y="253"/>
                  </a:cxn>
                  <a:cxn ang="0">
                    <a:pos x="126" y="272"/>
                  </a:cxn>
                  <a:cxn ang="0">
                    <a:pos x="63" y="261"/>
                  </a:cxn>
                  <a:cxn ang="0">
                    <a:pos x="16" y="244"/>
                  </a:cxn>
                  <a:cxn ang="0">
                    <a:pos x="0" y="237"/>
                  </a:cxn>
                  <a:cxn ang="0">
                    <a:pos x="20" y="233"/>
                  </a:cxn>
                  <a:cxn ang="0">
                    <a:pos x="16" y="211"/>
                  </a:cxn>
                  <a:cxn ang="0">
                    <a:pos x="9" y="198"/>
                  </a:cxn>
                  <a:cxn ang="0">
                    <a:pos x="46" y="203"/>
                  </a:cxn>
                  <a:cxn ang="0">
                    <a:pos x="71" y="199"/>
                  </a:cxn>
                  <a:cxn ang="0">
                    <a:pos x="82" y="196"/>
                  </a:cxn>
                  <a:cxn ang="0">
                    <a:pos x="62" y="187"/>
                  </a:cxn>
                  <a:cxn ang="0">
                    <a:pos x="41" y="187"/>
                  </a:cxn>
                  <a:cxn ang="0">
                    <a:pos x="23" y="165"/>
                  </a:cxn>
                </a:cxnLst>
                <a:rect l="0" t="0" r="r" b="b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4" name="Freeform 35"/>
              <p:cNvSpPr>
                <a:spLocks/>
              </p:cNvSpPr>
              <p:nvPr/>
            </p:nvSpPr>
            <p:spPr bwMode="auto">
              <a:xfrm>
                <a:off x="336858" y="3516589"/>
                <a:ext cx="839177" cy="597046"/>
              </a:xfrm>
              <a:custGeom>
                <a:avLst/>
                <a:gdLst/>
                <a:ahLst/>
                <a:cxnLst>
                  <a:cxn ang="0">
                    <a:pos x="171" y="84"/>
                  </a:cxn>
                  <a:cxn ang="0">
                    <a:pos x="155" y="83"/>
                  </a:cxn>
                  <a:cxn ang="0">
                    <a:pos x="155" y="83"/>
                  </a:cxn>
                  <a:cxn ang="0">
                    <a:pos x="141" y="74"/>
                  </a:cxn>
                  <a:cxn ang="0">
                    <a:pos x="127" y="63"/>
                  </a:cxn>
                  <a:cxn ang="0">
                    <a:pos x="115" y="54"/>
                  </a:cxn>
                  <a:cxn ang="0">
                    <a:pos x="103" y="45"/>
                  </a:cxn>
                  <a:cxn ang="0">
                    <a:pos x="100" y="17"/>
                  </a:cxn>
                  <a:cxn ang="0">
                    <a:pos x="100" y="17"/>
                  </a:cxn>
                  <a:cxn ang="0">
                    <a:pos x="79" y="12"/>
                  </a:cxn>
                  <a:cxn ang="0">
                    <a:pos x="79" y="12"/>
                  </a:cxn>
                  <a:cxn ang="0">
                    <a:pos x="63" y="4"/>
                  </a:cxn>
                  <a:cxn ang="0">
                    <a:pos x="61" y="11"/>
                  </a:cxn>
                  <a:cxn ang="0">
                    <a:pos x="44" y="32"/>
                  </a:cxn>
                  <a:cxn ang="0">
                    <a:pos x="35" y="55"/>
                  </a:cxn>
                  <a:cxn ang="0">
                    <a:pos x="6" y="86"/>
                  </a:cxn>
                  <a:cxn ang="0">
                    <a:pos x="1" y="118"/>
                  </a:cxn>
                  <a:cxn ang="0">
                    <a:pos x="14" y="130"/>
                  </a:cxn>
                  <a:cxn ang="0">
                    <a:pos x="21" y="142"/>
                  </a:cxn>
                  <a:cxn ang="0">
                    <a:pos x="30" y="152"/>
                  </a:cxn>
                  <a:cxn ang="0">
                    <a:pos x="46" y="167"/>
                  </a:cxn>
                  <a:cxn ang="0">
                    <a:pos x="61" y="182"/>
                  </a:cxn>
                  <a:cxn ang="0">
                    <a:pos x="75" y="197"/>
                  </a:cxn>
                  <a:cxn ang="0">
                    <a:pos x="76" y="212"/>
                  </a:cxn>
                  <a:cxn ang="0">
                    <a:pos x="104" y="202"/>
                  </a:cxn>
                  <a:cxn ang="0">
                    <a:pos x="129" y="196"/>
                  </a:cxn>
                  <a:cxn ang="0">
                    <a:pos x="155" y="211"/>
                  </a:cxn>
                  <a:cxn ang="0">
                    <a:pos x="179" y="216"/>
                  </a:cxn>
                  <a:cxn ang="0">
                    <a:pos x="210" y="226"/>
                  </a:cxn>
                  <a:cxn ang="0">
                    <a:pos x="250" y="233"/>
                  </a:cxn>
                  <a:cxn ang="0">
                    <a:pos x="283" y="233"/>
                  </a:cxn>
                  <a:cxn ang="0">
                    <a:pos x="282" y="204"/>
                  </a:cxn>
                  <a:cxn ang="0">
                    <a:pos x="277" y="186"/>
                  </a:cxn>
                  <a:cxn ang="0">
                    <a:pos x="262" y="165"/>
                  </a:cxn>
                  <a:cxn ang="0">
                    <a:pos x="249" y="161"/>
                  </a:cxn>
                  <a:cxn ang="0">
                    <a:pos x="233" y="149"/>
                  </a:cxn>
                  <a:cxn ang="0">
                    <a:pos x="231" y="128"/>
                  </a:cxn>
                  <a:cxn ang="0">
                    <a:pos x="216" y="134"/>
                  </a:cxn>
                  <a:cxn ang="0">
                    <a:pos x="211" y="125"/>
                  </a:cxn>
                  <a:cxn ang="0">
                    <a:pos x="203" y="117"/>
                  </a:cxn>
                  <a:cxn ang="0">
                    <a:pos x="183" y="101"/>
                  </a:cxn>
                  <a:cxn ang="0">
                    <a:pos x="171" y="84"/>
                  </a:cxn>
                  <a:cxn ang="0">
                    <a:pos x="171" y="84"/>
                  </a:cxn>
                </a:cxnLst>
                <a:rect l="0" t="0" r="r" b="b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rgbClr val="C43D59"/>
                  </a:solidFill>
                </a:endParaRPr>
              </a:p>
            </p:txBody>
          </p:sp>
          <p:sp>
            <p:nvSpPr>
              <p:cNvPr id="65" name="Freeform 128"/>
              <p:cNvSpPr>
                <a:spLocks/>
              </p:cNvSpPr>
              <p:nvPr/>
            </p:nvSpPr>
            <p:spPr bwMode="auto">
              <a:xfrm>
                <a:off x="3850912" y="4963972"/>
                <a:ext cx="1536741" cy="841292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rgbClr val="616466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66" name="Line 33"/>
              <p:cNvSpPr>
                <a:spLocks noChangeShapeType="1"/>
              </p:cNvSpPr>
              <p:nvPr/>
            </p:nvSpPr>
            <p:spPr bwMode="auto">
              <a:xfrm flipV="1">
                <a:off x="3200550" y="2688868"/>
                <a:ext cx="0" cy="27138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7" name="Freeform 32"/>
              <p:cNvSpPr>
                <a:spLocks/>
              </p:cNvSpPr>
              <p:nvPr/>
            </p:nvSpPr>
            <p:spPr bwMode="auto">
              <a:xfrm>
                <a:off x="3840422" y="4701634"/>
                <a:ext cx="325181" cy="12212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8" name="Freeform 31"/>
              <p:cNvSpPr>
                <a:spLocks/>
              </p:cNvSpPr>
              <p:nvPr/>
            </p:nvSpPr>
            <p:spPr bwMode="auto">
              <a:xfrm>
                <a:off x="4726801" y="3910098"/>
                <a:ext cx="62938" cy="298523"/>
              </a:xfrm>
              <a:custGeom>
                <a:avLst/>
                <a:gdLst/>
                <a:ahLst/>
                <a:cxnLst>
                  <a:cxn ang="0">
                    <a:pos x="13" y="120"/>
                  </a:cxn>
                  <a:cxn ang="0">
                    <a:pos x="13" y="105"/>
                  </a:cxn>
                  <a:cxn ang="0">
                    <a:pos x="6" y="79"/>
                  </a:cxn>
                  <a:cxn ang="0">
                    <a:pos x="12" y="67"/>
                  </a:cxn>
                  <a:cxn ang="0">
                    <a:pos x="20" y="52"/>
                  </a:cxn>
                  <a:cxn ang="0">
                    <a:pos x="12" y="32"/>
                  </a:cxn>
                  <a:cxn ang="0">
                    <a:pos x="6" y="15"/>
                  </a:cxn>
                  <a:cxn ang="0">
                    <a:pos x="10" y="0"/>
                  </a:cxn>
                </a:cxnLst>
                <a:rect l="0" t="0" r="r" b="b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9" name="Freeform 30"/>
              <p:cNvSpPr>
                <a:spLocks/>
              </p:cNvSpPr>
              <p:nvPr/>
            </p:nvSpPr>
            <p:spPr bwMode="auto">
              <a:xfrm>
                <a:off x="4616661" y="3914619"/>
                <a:ext cx="120630" cy="13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1" y="0"/>
                  </a:cxn>
                  <a:cxn ang="0">
                    <a:pos x="42" y="6"/>
                  </a:cxn>
                </a:cxnLst>
                <a:rect l="0" t="0" r="r" b="b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Freeform 29"/>
              <p:cNvSpPr>
                <a:spLocks/>
              </p:cNvSpPr>
              <p:nvPr/>
            </p:nvSpPr>
            <p:spPr bwMode="auto">
              <a:xfrm>
                <a:off x="4134134" y="3674898"/>
                <a:ext cx="41959" cy="18092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0" y="0"/>
                  </a:cxn>
                </a:cxnLst>
                <a:rect l="0" t="0" r="r" b="b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1" name="Line 28"/>
              <p:cNvSpPr>
                <a:spLocks noChangeShapeType="1"/>
              </p:cNvSpPr>
              <p:nvPr/>
            </p:nvSpPr>
            <p:spPr bwMode="auto">
              <a:xfrm flipH="1" flipV="1">
                <a:off x="3614892" y="3453266"/>
                <a:ext cx="20979" cy="13571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2" name="Freeform 27"/>
              <p:cNvSpPr>
                <a:spLocks/>
              </p:cNvSpPr>
              <p:nvPr/>
            </p:nvSpPr>
            <p:spPr bwMode="auto">
              <a:xfrm>
                <a:off x="3494261" y="3367329"/>
                <a:ext cx="68181" cy="54277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5" y="13"/>
                  </a:cxn>
                  <a:cxn ang="0">
                    <a:pos x="2" y="0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3" name="Freeform 26"/>
              <p:cNvSpPr>
                <a:spLocks/>
              </p:cNvSpPr>
              <p:nvPr/>
            </p:nvSpPr>
            <p:spPr bwMode="auto">
              <a:xfrm>
                <a:off x="3473282" y="3249729"/>
                <a:ext cx="41959" cy="18092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0" y="4"/>
                  </a:cxn>
                </a:cxnLst>
                <a:rect l="0" t="0" r="r" b="b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4" name="Freeform 25"/>
              <p:cNvSpPr>
                <a:spLocks/>
              </p:cNvSpPr>
              <p:nvPr/>
            </p:nvSpPr>
            <p:spPr bwMode="auto">
              <a:xfrm>
                <a:off x="3190060" y="2987391"/>
                <a:ext cx="57692" cy="162831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5" name="Freeform 24"/>
              <p:cNvSpPr>
                <a:spLocks/>
              </p:cNvSpPr>
              <p:nvPr/>
            </p:nvSpPr>
            <p:spPr bwMode="auto">
              <a:xfrm>
                <a:off x="4139377" y="4204096"/>
                <a:ext cx="713301" cy="520155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25" y="196"/>
                  </a:cxn>
                  <a:cxn ang="0">
                    <a:pos x="51" y="181"/>
                  </a:cxn>
                  <a:cxn ang="0">
                    <a:pos x="55" y="162"/>
                  </a:cxn>
                  <a:cxn ang="0">
                    <a:pos x="71" y="141"/>
                  </a:cxn>
                  <a:cxn ang="0">
                    <a:pos x="89" y="106"/>
                  </a:cxn>
                  <a:cxn ang="0">
                    <a:pos x="107" y="97"/>
                  </a:cxn>
                  <a:cxn ang="0">
                    <a:pos x="93" y="87"/>
                  </a:cxn>
                  <a:cxn ang="0">
                    <a:pos x="111" y="82"/>
                  </a:cxn>
                  <a:cxn ang="0">
                    <a:pos x="134" y="68"/>
                  </a:cxn>
                  <a:cxn ang="0">
                    <a:pos x="153" y="62"/>
                  </a:cxn>
                  <a:cxn ang="0">
                    <a:pos x="153" y="62"/>
                  </a:cxn>
                  <a:cxn ang="0">
                    <a:pos x="176" y="63"/>
                  </a:cxn>
                  <a:cxn ang="0">
                    <a:pos x="193" y="74"/>
                  </a:cxn>
                  <a:cxn ang="0">
                    <a:pos x="193" y="74"/>
                  </a:cxn>
                  <a:cxn ang="0">
                    <a:pos x="215" y="78"/>
                  </a:cxn>
                  <a:cxn ang="0">
                    <a:pos x="235" y="71"/>
                  </a:cxn>
                  <a:cxn ang="0">
                    <a:pos x="248" y="54"/>
                  </a:cxn>
                  <a:cxn ang="0">
                    <a:pos x="236" y="27"/>
                  </a:cxn>
                  <a:cxn ang="0">
                    <a:pos x="219" y="1"/>
                  </a:cxn>
                  <a:cxn ang="0">
                    <a:pos x="220" y="34"/>
                  </a:cxn>
                  <a:cxn ang="0">
                    <a:pos x="195" y="53"/>
                  </a:cxn>
                  <a:cxn ang="0">
                    <a:pos x="195" y="53"/>
                  </a:cxn>
                  <a:cxn ang="0">
                    <a:pos x="172" y="50"/>
                  </a:cxn>
                  <a:cxn ang="0">
                    <a:pos x="172" y="50"/>
                  </a:cxn>
                  <a:cxn ang="0">
                    <a:pos x="143" y="51"/>
                  </a:cxn>
                  <a:cxn ang="0">
                    <a:pos x="119" y="49"/>
                  </a:cxn>
                  <a:cxn ang="0">
                    <a:pos x="103" y="60"/>
                  </a:cxn>
                  <a:cxn ang="0">
                    <a:pos x="86" y="56"/>
                  </a:cxn>
                  <a:cxn ang="0">
                    <a:pos x="83" y="80"/>
                  </a:cxn>
                  <a:cxn ang="0">
                    <a:pos x="77" y="113"/>
                  </a:cxn>
                  <a:cxn ang="0">
                    <a:pos x="64" y="127"/>
                  </a:cxn>
                  <a:cxn ang="0">
                    <a:pos x="54" y="148"/>
                  </a:cxn>
                  <a:cxn ang="0">
                    <a:pos x="44" y="168"/>
                  </a:cxn>
                  <a:cxn ang="0">
                    <a:pos x="31" y="188"/>
                  </a:cxn>
                  <a:cxn ang="0">
                    <a:pos x="16" y="195"/>
                  </a:cxn>
                  <a:cxn ang="0">
                    <a:pos x="0" y="207"/>
                  </a:cxn>
                  <a:cxn ang="0">
                    <a:pos x="0" y="207"/>
                  </a:cxn>
                </a:cxnLst>
                <a:rect l="0" t="0" r="r" b="b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6" name="Freeform 23"/>
              <p:cNvSpPr>
                <a:spLocks/>
              </p:cNvSpPr>
              <p:nvPr/>
            </p:nvSpPr>
            <p:spPr bwMode="auto">
              <a:xfrm>
                <a:off x="4742537" y="3842250"/>
                <a:ext cx="62938" cy="72369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7" name="Freeform 22"/>
              <p:cNvSpPr>
                <a:spLocks/>
              </p:cNvSpPr>
              <p:nvPr/>
            </p:nvSpPr>
            <p:spPr bwMode="auto">
              <a:xfrm>
                <a:off x="4160357" y="3674898"/>
                <a:ext cx="456304" cy="244246"/>
              </a:xfrm>
              <a:custGeom>
                <a:avLst/>
                <a:gdLst/>
                <a:ahLst/>
                <a:cxnLst>
                  <a:cxn ang="0">
                    <a:pos x="162" y="94"/>
                  </a:cxn>
                  <a:cxn ang="0">
                    <a:pos x="124" y="65"/>
                  </a:cxn>
                  <a:cxn ang="0">
                    <a:pos x="75" y="34"/>
                  </a:cxn>
                  <a:cxn ang="0">
                    <a:pos x="82" y="23"/>
                  </a:cxn>
                  <a:cxn ang="0">
                    <a:pos x="56" y="20"/>
                  </a:cxn>
                  <a:cxn ang="0">
                    <a:pos x="32" y="16"/>
                  </a:cxn>
                  <a:cxn ang="0">
                    <a:pos x="2" y="2"/>
                  </a:cxn>
                  <a:cxn ang="0">
                    <a:pos x="19" y="20"/>
                  </a:cxn>
                  <a:cxn ang="0">
                    <a:pos x="35" y="20"/>
                  </a:cxn>
                  <a:cxn ang="0">
                    <a:pos x="53" y="34"/>
                  </a:cxn>
                  <a:cxn ang="0">
                    <a:pos x="67" y="45"/>
                  </a:cxn>
                  <a:cxn ang="0">
                    <a:pos x="77" y="50"/>
                  </a:cxn>
                  <a:cxn ang="0">
                    <a:pos x="93" y="59"/>
                  </a:cxn>
                  <a:cxn ang="0">
                    <a:pos x="115" y="73"/>
                  </a:cxn>
                  <a:cxn ang="0">
                    <a:pos x="129" y="86"/>
                  </a:cxn>
                  <a:cxn ang="0">
                    <a:pos x="149" y="91"/>
                  </a:cxn>
                  <a:cxn ang="0">
                    <a:pos x="162" y="94"/>
                  </a:cxn>
                  <a:cxn ang="0">
                    <a:pos x="162" y="94"/>
                  </a:cxn>
                </a:cxnLst>
                <a:rect l="0" t="0" r="r" b="b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8" name="Freeform 21"/>
              <p:cNvSpPr>
                <a:spLocks/>
              </p:cNvSpPr>
              <p:nvPr/>
            </p:nvSpPr>
            <p:spPr bwMode="auto">
              <a:xfrm>
                <a:off x="3494261" y="3258775"/>
                <a:ext cx="62938" cy="126646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9" name="Freeform 20"/>
              <p:cNvSpPr>
                <a:spLocks/>
              </p:cNvSpPr>
              <p:nvPr/>
            </p:nvSpPr>
            <p:spPr bwMode="auto">
              <a:xfrm>
                <a:off x="3588669" y="3448744"/>
                <a:ext cx="576934" cy="275906"/>
              </a:xfrm>
              <a:custGeom>
                <a:avLst/>
                <a:gdLst/>
                <a:ahLst/>
                <a:cxnLst>
                  <a:cxn ang="0">
                    <a:pos x="117" y="44"/>
                  </a:cxn>
                  <a:cxn ang="0">
                    <a:pos x="80" y="26"/>
                  </a:cxn>
                  <a:cxn ang="0">
                    <a:pos x="51" y="17"/>
                  </a:cxn>
                  <a:cxn ang="0">
                    <a:pos x="36" y="0"/>
                  </a:cxn>
                  <a:cxn ang="0">
                    <a:pos x="31" y="9"/>
                  </a:cxn>
                  <a:cxn ang="0">
                    <a:pos x="40" y="22"/>
                  </a:cxn>
                  <a:cxn ang="0">
                    <a:pos x="65" y="44"/>
                  </a:cxn>
                  <a:cxn ang="0">
                    <a:pos x="91" y="56"/>
                  </a:cxn>
                  <a:cxn ang="0">
                    <a:pos x="120" y="74"/>
                  </a:cxn>
                  <a:cxn ang="0">
                    <a:pos x="127" y="94"/>
                  </a:cxn>
                  <a:cxn ang="0">
                    <a:pos x="153" y="92"/>
                  </a:cxn>
                  <a:cxn ang="0">
                    <a:pos x="157" y="111"/>
                  </a:cxn>
                  <a:cxn ang="0">
                    <a:pos x="157" y="111"/>
                  </a:cxn>
                  <a:cxn ang="0">
                    <a:pos x="181" y="110"/>
                  </a:cxn>
                  <a:cxn ang="0">
                    <a:pos x="181" y="110"/>
                  </a:cxn>
                  <a:cxn ang="0">
                    <a:pos x="180" y="95"/>
                  </a:cxn>
                  <a:cxn ang="0">
                    <a:pos x="197" y="103"/>
                  </a:cxn>
                  <a:cxn ang="0">
                    <a:pos x="205" y="91"/>
                  </a:cxn>
                  <a:cxn ang="0">
                    <a:pos x="182" y="86"/>
                  </a:cxn>
                  <a:cxn ang="0">
                    <a:pos x="158" y="59"/>
                  </a:cxn>
                  <a:cxn ang="0">
                    <a:pos x="150" y="48"/>
                  </a:cxn>
                  <a:cxn ang="0">
                    <a:pos x="126" y="21"/>
                  </a:cxn>
                  <a:cxn ang="0">
                    <a:pos x="120" y="11"/>
                  </a:cxn>
                  <a:cxn ang="0">
                    <a:pos x="118" y="31"/>
                  </a:cxn>
                  <a:cxn ang="0">
                    <a:pos x="117" y="44"/>
                  </a:cxn>
                  <a:cxn ang="0">
                    <a:pos x="117" y="44"/>
                  </a:cxn>
                </a:cxnLst>
                <a:rect l="0" t="0" r="r" b="b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rgbClr val="4F81BD"/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0" name="Freeform 19"/>
              <p:cNvSpPr>
                <a:spLocks/>
              </p:cNvSpPr>
              <p:nvPr/>
            </p:nvSpPr>
            <p:spPr bwMode="auto">
              <a:xfrm>
                <a:off x="3562443" y="3417081"/>
                <a:ext cx="62938" cy="4975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23" y="17"/>
                  </a:cxn>
                  <a:cxn ang="0">
                    <a:pos x="23" y="17"/>
                  </a:cxn>
                  <a:cxn ang="0">
                    <a:pos x="14" y="7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4F81BD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1" name="Freeform 18"/>
              <p:cNvSpPr>
                <a:spLocks/>
              </p:cNvSpPr>
              <p:nvPr/>
            </p:nvSpPr>
            <p:spPr bwMode="auto">
              <a:xfrm>
                <a:off x="3247752" y="3132129"/>
                <a:ext cx="236020" cy="167352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6350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2" name="Freeform 17"/>
              <p:cNvSpPr>
                <a:spLocks/>
              </p:cNvSpPr>
              <p:nvPr/>
            </p:nvSpPr>
            <p:spPr bwMode="auto">
              <a:xfrm>
                <a:off x="3111385" y="2670776"/>
                <a:ext cx="120633" cy="312091"/>
              </a:xfrm>
              <a:custGeom>
                <a:avLst/>
                <a:gdLst/>
                <a:ahLst/>
                <a:cxnLst>
                  <a:cxn ang="0">
                    <a:pos x="29" y="126"/>
                  </a:cxn>
                  <a:cxn ang="0">
                    <a:pos x="15" y="88"/>
                  </a:cxn>
                  <a:cxn ang="0">
                    <a:pos x="11" y="51"/>
                  </a:cxn>
                  <a:cxn ang="0">
                    <a:pos x="0" y="48"/>
                  </a:cxn>
                  <a:cxn ang="0">
                    <a:pos x="25" y="23"/>
                  </a:cxn>
                  <a:cxn ang="0">
                    <a:pos x="37" y="16"/>
                  </a:cxn>
                  <a:cxn ang="0">
                    <a:pos x="35" y="35"/>
                  </a:cxn>
                  <a:cxn ang="0">
                    <a:pos x="35" y="57"/>
                  </a:cxn>
                  <a:cxn ang="0">
                    <a:pos x="32" y="99"/>
                  </a:cxn>
                  <a:cxn ang="0">
                    <a:pos x="29" y="126"/>
                  </a:cxn>
                  <a:cxn ang="0">
                    <a:pos x="29" y="126"/>
                  </a:cxn>
                </a:cxnLst>
                <a:rect l="0" t="0" r="r" b="b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rgbClr val="4F81BD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1100" kern="0" dirty="0">
                  <a:solidFill>
                    <a:sysClr val="window" lastClr="FFFFFF">
                      <a:lumMod val="65000"/>
                    </a:sysClr>
                  </a:solidFill>
                </a:endParaRPr>
              </a:p>
            </p:txBody>
          </p:sp>
          <p:sp>
            <p:nvSpPr>
              <p:cNvPr id="83" name="Freeform 43"/>
              <p:cNvSpPr>
                <a:spLocks/>
              </p:cNvSpPr>
              <p:nvPr/>
            </p:nvSpPr>
            <p:spPr bwMode="auto">
              <a:xfrm>
                <a:off x="5219818" y="3507543"/>
                <a:ext cx="896872" cy="1094584"/>
              </a:xfrm>
              <a:custGeom>
                <a:avLst/>
                <a:gdLst/>
                <a:ahLst/>
                <a:cxnLst>
                  <a:cxn ang="0">
                    <a:pos x="26" y="135"/>
                  </a:cxn>
                  <a:cxn ang="0">
                    <a:pos x="44" y="135"/>
                  </a:cxn>
                  <a:cxn ang="0">
                    <a:pos x="40" y="180"/>
                  </a:cxn>
                  <a:cxn ang="0">
                    <a:pos x="48" y="205"/>
                  </a:cxn>
                  <a:cxn ang="0">
                    <a:pos x="34" y="230"/>
                  </a:cxn>
                  <a:cxn ang="0">
                    <a:pos x="14" y="244"/>
                  </a:cxn>
                  <a:cxn ang="0">
                    <a:pos x="15" y="270"/>
                  </a:cxn>
                  <a:cxn ang="0">
                    <a:pos x="29" y="289"/>
                  </a:cxn>
                  <a:cxn ang="0">
                    <a:pos x="54" y="314"/>
                  </a:cxn>
                  <a:cxn ang="0">
                    <a:pos x="85" y="330"/>
                  </a:cxn>
                  <a:cxn ang="0">
                    <a:pos x="91" y="347"/>
                  </a:cxn>
                  <a:cxn ang="0">
                    <a:pos x="75" y="361"/>
                  </a:cxn>
                  <a:cxn ang="0">
                    <a:pos x="59" y="385"/>
                  </a:cxn>
                  <a:cxn ang="0">
                    <a:pos x="94" y="415"/>
                  </a:cxn>
                  <a:cxn ang="0">
                    <a:pos x="87" y="439"/>
                  </a:cxn>
                  <a:cxn ang="0">
                    <a:pos x="123" y="434"/>
                  </a:cxn>
                  <a:cxn ang="0">
                    <a:pos x="220" y="389"/>
                  </a:cxn>
                  <a:cxn ang="0">
                    <a:pos x="230" y="358"/>
                  </a:cxn>
                  <a:cxn ang="0">
                    <a:pos x="229" y="331"/>
                  </a:cxn>
                  <a:cxn ang="0">
                    <a:pos x="265" y="281"/>
                  </a:cxn>
                  <a:cxn ang="0">
                    <a:pos x="285" y="255"/>
                  </a:cxn>
                  <a:cxn ang="0">
                    <a:pos x="312" y="235"/>
                  </a:cxn>
                  <a:cxn ang="0">
                    <a:pos x="312" y="223"/>
                  </a:cxn>
                  <a:cxn ang="0">
                    <a:pos x="296" y="207"/>
                  </a:cxn>
                  <a:cxn ang="0">
                    <a:pos x="253" y="188"/>
                  </a:cxn>
                  <a:cxn ang="0">
                    <a:pos x="215" y="140"/>
                  </a:cxn>
                  <a:cxn ang="0">
                    <a:pos x="204" y="96"/>
                  </a:cxn>
                  <a:cxn ang="0">
                    <a:pos x="195" y="67"/>
                  </a:cxn>
                  <a:cxn ang="0">
                    <a:pos x="172" y="46"/>
                  </a:cxn>
                  <a:cxn ang="0">
                    <a:pos x="161" y="18"/>
                  </a:cxn>
                  <a:cxn ang="0">
                    <a:pos x="145" y="6"/>
                  </a:cxn>
                  <a:cxn ang="0">
                    <a:pos x="106" y="14"/>
                  </a:cxn>
                  <a:cxn ang="0">
                    <a:pos x="102" y="33"/>
                  </a:cxn>
                  <a:cxn ang="0">
                    <a:pos x="78" y="70"/>
                  </a:cxn>
                  <a:cxn ang="0">
                    <a:pos x="58" y="86"/>
                  </a:cxn>
                  <a:cxn ang="0">
                    <a:pos x="37" y="91"/>
                  </a:cxn>
                  <a:cxn ang="0">
                    <a:pos x="15" y="104"/>
                  </a:cxn>
                  <a:cxn ang="0">
                    <a:pos x="19" y="127"/>
                  </a:cxn>
                </a:cxnLst>
                <a:rect l="0" t="0" r="r" b="b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C43D59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kern="0" dirty="0">
                  <a:solidFill>
                    <a:srgbClr val="C43D59"/>
                  </a:solidFill>
                </a:endParaRPr>
              </a:p>
            </p:txBody>
          </p:sp>
        </p:grpSp>
        <p:sp>
          <p:nvSpPr>
            <p:cNvPr id="23" name="Oval 147"/>
            <p:cNvSpPr/>
            <p:nvPr/>
          </p:nvSpPr>
          <p:spPr bwMode="auto">
            <a:xfrm>
              <a:off x="5122393" y="2409718"/>
              <a:ext cx="146832" cy="144503"/>
            </a:xfrm>
            <a:prstGeom prst="ellipse">
              <a:avLst/>
            </a:prstGeom>
            <a:solidFill>
              <a:srgbClr val="C0504D">
                <a:lumMod val="75000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ea typeface="MS PGothic" pitchFamily="34" charset="-128"/>
              </a:endParaRPr>
            </a:p>
          </p:txBody>
        </p:sp>
        <p:sp>
          <p:nvSpPr>
            <p:cNvPr id="24" name="Freeform 164"/>
            <p:cNvSpPr>
              <a:spLocks noChangeAspect="1"/>
            </p:cNvSpPr>
            <p:nvPr/>
          </p:nvSpPr>
          <p:spPr bwMode="auto">
            <a:xfrm>
              <a:off x="8114102" y="3196462"/>
              <a:ext cx="874874" cy="968716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rgbClr val="61646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hangingPunct="0">
                <a:defRPr/>
              </a:pPr>
              <a:endParaRPr lang="uk-UA" sz="1000" u="sng" kern="0" dirty="0">
                <a:solidFill>
                  <a:sysClr val="windowText" lastClr="000000"/>
                </a:solidFill>
                <a:latin typeface="Arial" pitchFamily="34" charset="0"/>
                <a:ea typeface="MS PGothic" pitchFamily="34" charset="-128"/>
              </a:endParaRPr>
            </a:p>
          </p:txBody>
        </p:sp>
      </p:grpSp>
      <p:sp>
        <p:nvSpPr>
          <p:cNvPr id="84" name="TextBox 13"/>
          <p:cNvSpPr txBox="1">
            <a:spLocks noChangeArrowheads="1"/>
          </p:cNvSpPr>
          <p:nvPr/>
        </p:nvSpPr>
        <p:spPr bwMode="auto">
          <a:xfrm>
            <a:off x="2360663" y="3647155"/>
            <a:ext cx="1573549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uk-UA" sz="2000" b="1" dirty="0">
                <a:ln>
                  <a:solidFill>
                    <a:srgbClr val="255286"/>
                  </a:solidFill>
                </a:ln>
                <a:solidFill>
                  <a:srgbClr val="255286"/>
                </a:solidFill>
                <a:latin typeface="Calibri Light" pitchFamily="34" charset="0"/>
              </a:rPr>
              <a:t>ПЛОЩА ОТГ</a:t>
            </a:r>
          </a:p>
        </p:txBody>
      </p:sp>
      <p:grpSp>
        <p:nvGrpSpPr>
          <p:cNvPr id="85" name="Group 4"/>
          <p:cNvGrpSpPr>
            <a:grpSpLocks noChangeAspect="1"/>
          </p:cNvGrpSpPr>
          <p:nvPr/>
        </p:nvGrpSpPr>
        <p:grpSpPr bwMode="auto">
          <a:xfrm>
            <a:off x="5015880" y="2203041"/>
            <a:ext cx="818648" cy="1077105"/>
            <a:chOff x="2110" y="986"/>
            <a:chExt cx="2432" cy="2345"/>
          </a:xfrm>
          <a:solidFill>
            <a:srgbClr val="C43D59"/>
          </a:solidFill>
        </p:grpSpPr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2578" y="996"/>
              <a:ext cx="572" cy="572"/>
            </a:xfrm>
            <a:custGeom>
              <a:avLst/>
              <a:gdLst>
                <a:gd name="T0" fmla="*/ 286 w 572"/>
                <a:gd name="T1" fmla="*/ 0 h 572"/>
                <a:gd name="T2" fmla="*/ 328 w 572"/>
                <a:gd name="T3" fmla="*/ 3 h 572"/>
                <a:gd name="T4" fmla="*/ 369 w 572"/>
                <a:gd name="T5" fmla="*/ 12 h 572"/>
                <a:gd name="T6" fmla="*/ 406 w 572"/>
                <a:gd name="T7" fmla="*/ 26 h 572"/>
                <a:gd name="T8" fmla="*/ 442 w 572"/>
                <a:gd name="T9" fmla="*/ 47 h 572"/>
                <a:gd name="T10" fmla="*/ 474 w 572"/>
                <a:gd name="T11" fmla="*/ 70 h 572"/>
                <a:gd name="T12" fmla="*/ 502 w 572"/>
                <a:gd name="T13" fmla="*/ 98 h 572"/>
                <a:gd name="T14" fmla="*/ 526 w 572"/>
                <a:gd name="T15" fmla="*/ 130 h 572"/>
                <a:gd name="T16" fmla="*/ 546 w 572"/>
                <a:gd name="T17" fmla="*/ 166 h 572"/>
                <a:gd name="T18" fmla="*/ 560 w 572"/>
                <a:gd name="T19" fmla="*/ 203 h 572"/>
                <a:gd name="T20" fmla="*/ 569 w 572"/>
                <a:gd name="T21" fmla="*/ 244 h 572"/>
                <a:gd name="T22" fmla="*/ 572 w 572"/>
                <a:gd name="T23" fmla="*/ 286 h 572"/>
                <a:gd name="T24" fmla="*/ 569 w 572"/>
                <a:gd name="T25" fmla="*/ 328 h 572"/>
                <a:gd name="T26" fmla="*/ 560 w 572"/>
                <a:gd name="T27" fmla="*/ 369 h 572"/>
                <a:gd name="T28" fmla="*/ 546 w 572"/>
                <a:gd name="T29" fmla="*/ 406 h 572"/>
                <a:gd name="T30" fmla="*/ 526 w 572"/>
                <a:gd name="T31" fmla="*/ 442 h 572"/>
                <a:gd name="T32" fmla="*/ 502 w 572"/>
                <a:gd name="T33" fmla="*/ 473 h 572"/>
                <a:gd name="T34" fmla="*/ 474 w 572"/>
                <a:gd name="T35" fmla="*/ 501 h 572"/>
                <a:gd name="T36" fmla="*/ 442 w 572"/>
                <a:gd name="T37" fmla="*/ 526 h 572"/>
                <a:gd name="T38" fmla="*/ 406 w 572"/>
                <a:gd name="T39" fmla="*/ 546 h 572"/>
                <a:gd name="T40" fmla="*/ 369 w 572"/>
                <a:gd name="T41" fmla="*/ 560 h 572"/>
                <a:gd name="T42" fmla="*/ 328 w 572"/>
                <a:gd name="T43" fmla="*/ 569 h 572"/>
                <a:gd name="T44" fmla="*/ 286 w 572"/>
                <a:gd name="T45" fmla="*/ 572 h 572"/>
                <a:gd name="T46" fmla="*/ 244 w 572"/>
                <a:gd name="T47" fmla="*/ 569 h 572"/>
                <a:gd name="T48" fmla="*/ 204 w 572"/>
                <a:gd name="T49" fmla="*/ 560 h 572"/>
                <a:gd name="T50" fmla="*/ 166 w 572"/>
                <a:gd name="T51" fmla="*/ 546 h 572"/>
                <a:gd name="T52" fmla="*/ 130 w 572"/>
                <a:gd name="T53" fmla="*/ 526 h 572"/>
                <a:gd name="T54" fmla="*/ 99 w 572"/>
                <a:gd name="T55" fmla="*/ 501 h 572"/>
                <a:gd name="T56" fmla="*/ 71 w 572"/>
                <a:gd name="T57" fmla="*/ 473 h 572"/>
                <a:gd name="T58" fmla="*/ 46 w 572"/>
                <a:gd name="T59" fmla="*/ 442 h 572"/>
                <a:gd name="T60" fmla="*/ 27 w 572"/>
                <a:gd name="T61" fmla="*/ 406 h 572"/>
                <a:gd name="T62" fmla="*/ 12 w 572"/>
                <a:gd name="T63" fmla="*/ 369 h 572"/>
                <a:gd name="T64" fmla="*/ 3 w 572"/>
                <a:gd name="T65" fmla="*/ 328 h 572"/>
                <a:gd name="T66" fmla="*/ 0 w 572"/>
                <a:gd name="T67" fmla="*/ 286 h 572"/>
                <a:gd name="T68" fmla="*/ 3 w 572"/>
                <a:gd name="T69" fmla="*/ 244 h 572"/>
                <a:gd name="T70" fmla="*/ 12 w 572"/>
                <a:gd name="T71" fmla="*/ 203 h 572"/>
                <a:gd name="T72" fmla="*/ 27 w 572"/>
                <a:gd name="T73" fmla="*/ 166 h 572"/>
                <a:gd name="T74" fmla="*/ 46 w 572"/>
                <a:gd name="T75" fmla="*/ 130 h 572"/>
                <a:gd name="T76" fmla="*/ 71 w 572"/>
                <a:gd name="T77" fmla="*/ 98 h 572"/>
                <a:gd name="T78" fmla="*/ 99 w 572"/>
                <a:gd name="T79" fmla="*/ 70 h 572"/>
                <a:gd name="T80" fmla="*/ 130 w 572"/>
                <a:gd name="T81" fmla="*/ 47 h 572"/>
                <a:gd name="T82" fmla="*/ 166 w 572"/>
                <a:gd name="T83" fmla="*/ 26 h 572"/>
                <a:gd name="T84" fmla="*/ 204 w 572"/>
                <a:gd name="T85" fmla="*/ 12 h 572"/>
                <a:gd name="T86" fmla="*/ 244 w 572"/>
                <a:gd name="T87" fmla="*/ 3 h 572"/>
                <a:gd name="T88" fmla="*/ 286 w 572"/>
                <a:gd name="T89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572">
                  <a:moveTo>
                    <a:pt x="286" y="0"/>
                  </a:moveTo>
                  <a:lnTo>
                    <a:pt x="328" y="3"/>
                  </a:lnTo>
                  <a:lnTo>
                    <a:pt x="369" y="12"/>
                  </a:lnTo>
                  <a:lnTo>
                    <a:pt x="406" y="26"/>
                  </a:lnTo>
                  <a:lnTo>
                    <a:pt x="442" y="47"/>
                  </a:lnTo>
                  <a:lnTo>
                    <a:pt x="474" y="70"/>
                  </a:lnTo>
                  <a:lnTo>
                    <a:pt x="502" y="98"/>
                  </a:lnTo>
                  <a:lnTo>
                    <a:pt x="526" y="130"/>
                  </a:lnTo>
                  <a:lnTo>
                    <a:pt x="546" y="166"/>
                  </a:lnTo>
                  <a:lnTo>
                    <a:pt x="560" y="203"/>
                  </a:lnTo>
                  <a:lnTo>
                    <a:pt x="569" y="244"/>
                  </a:lnTo>
                  <a:lnTo>
                    <a:pt x="572" y="286"/>
                  </a:lnTo>
                  <a:lnTo>
                    <a:pt x="569" y="328"/>
                  </a:lnTo>
                  <a:lnTo>
                    <a:pt x="560" y="369"/>
                  </a:lnTo>
                  <a:lnTo>
                    <a:pt x="546" y="406"/>
                  </a:lnTo>
                  <a:lnTo>
                    <a:pt x="526" y="442"/>
                  </a:lnTo>
                  <a:lnTo>
                    <a:pt x="502" y="473"/>
                  </a:lnTo>
                  <a:lnTo>
                    <a:pt x="474" y="501"/>
                  </a:lnTo>
                  <a:lnTo>
                    <a:pt x="442" y="526"/>
                  </a:lnTo>
                  <a:lnTo>
                    <a:pt x="406" y="546"/>
                  </a:lnTo>
                  <a:lnTo>
                    <a:pt x="369" y="560"/>
                  </a:lnTo>
                  <a:lnTo>
                    <a:pt x="328" y="569"/>
                  </a:lnTo>
                  <a:lnTo>
                    <a:pt x="286" y="572"/>
                  </a:lnTo>
                  <a:lnTo>
                    <a:pt x="244" y="569"/>
                  </a:lnTo>
                  <a:lnTo>
                    <a:pt x="204" y="560"/>
                  </a:lnTo>
                  <a:lnTo>
                    <a:pt x="166" y="546"/>
                  </a:lnTo>
                  <a:lnTo>
                    <a:pt x="130" y="526"/>
                  </a:lnTo>
                  <a:lnTo>
                    <a:pt x="99" y="501"/>
                  </a:lnTo>
                  <a:lnTo>
                    <a:pt x="71" y="473"/>
                  </a:lnTo>
                  <a:lnTo>
                    <a:pt x="46" y="442"/>
                  </a:lnTo>
                  <a:lnTo>
                    <a:pt x="27" y="406"/>
                  </a:lnTo>
                  <a:lnTo>
                    <a:pt x="12" y="369"/>
                  </a:lnTo>
                  <a:lnTo>
                    <a:pt x="3" y="328"/>
                  </a:lnTo>
                  <a:lnTo>
                    <a:pt x="0" y="286"/>
                  </a:lnTo>
                  <a:lnTo>
                    <a:pt x="3" y="244"/>
                  </a:lnTo>
                  <a:lnTo>
                    <a:pt x="12" y="203"/>
                  </a:lnTo>
                  <a:lnTo>
                    <a:pt x="27" y="166"/>
                  </a:lnTo>
                  <a:lnTo>
                    <a:pt x="46" y="130"/>
                  </a:lnTo>
                  <a:lnTo>
                    <a:pt x="71" y="98"/>
                  </a:lnTo>
                  <a:lnTo>
                    <a:pt x="99" y="70"/>
                  </a:lnTo>
                  <a:lnTo>
                    <a:pt x="130" y="47"/>
                  </a:lnTo>
                  <a:lnTo>
                    <a:pt x="166" y="26"/>
                  </a:lnTo>
                  <a:lnTo>
                    <a:pt x="204" y="12"/>
                  </a:lnTo>
                  <a:lnTo>
                    <a:pt x="244" y="3"/>
                  </a:lnTo>
                  <a:lnTo>
                    <a:pt x="2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7"/>
            <p:cNvSpPr>
              <a:spLocks/>
            </p:cNvSpPr>
            <p:nvPr/>
          </p:nvSpPr>
          <p:spPr bwMode="auto">
            <a:xfrm>
              <a:off x="2110" y="986"/>
              <a:ext cx="1534" cy="2345"/>
            </a:xfrm>
            <a:custGeom>
              <a:avLst/>
              <a:gdLst>
                <a:gd name="T0" fmla="*/ 172 w 1534"/>
                <a:gd name="T1" fmla="*/ 10 h 2345"/>
                <a:gd name="T2" fmla="*/ 226 w 1534"/>
                <a:gd name="T3" fmla="*/ 61 h 2345"/>
                <a:gd name="T4" fmla="*/ 245 w 1534"/>
                <a:gd name="T5" fmla="*/ 145 h 2345"/>
                <a:gd name="T6" fmla="*/ 262 w 1534"/>
                <a:gd name="T7" fmla="*/ 254 h 2345"/>
                <a:gd name="T8" fmla="*/ 281 w 1534"/>
                <a:gd name="T9" fmla="*/ 348 h 2345"/>
                <a:gd name="T10" fmla="*/ 301 w 1534"/>
                <a:gd name="T11" fmla="*/ 398 h 2345"/>
                <a:gd name="T12" fmla="*/ 345 w 1534"/>
                <a:gd name="T13" fmla="*/ 445 h 2345"/>
                <a:gd name="T14" fmla="*/ 413 w 1534"/>
                <a:gd name="T15" fmla="*/ 510 h 2345"/>
                <a:gd name="T16" fmla="*/ 496 w 1534"/>
                <a:gd name="T17" fmla="*/ 587 h 2345"/>
                <a:gd name="T18" fmla="*/ 977 w 1534"/>
                <a:gd name="T19" fmla="*/ 642 h 2345"/>
                <a:gd name="T20" fmla="*/ 1067 w 1534"/>
                <a:gd name="T21" fmla="*/ 561 h 2345"/>
                <a:gd name="T22" fmla="*/ 1146 w 1534"/>
                <a:gd name="T23" fmla="*/ 486 h 2345"/>
                <a:gd name="T24" fmla="*/ 1207 w 1534"/>
                <a:gd name="T25" fmla="*/ 426 h 2345"/>
                <a:gd name="T26" fmla="*/ 1240 w 1534"/>
                <a:gd name="T27" fmla="*/ 388 h 2345"/>
                <a:gd name="T28" fmla="*/ 1260 w 1534"/>
                <a:gd name="T29" fmla="*/ 320 h 2345"/>
                <a:gd name="T30" fmla="*/ 1278 w 1534"/>
                <a:gd name="T31" fmla="*/ 217 h 2345"/>
                <a:gd name="T32" fmla="*/ 1293 w 1534"/>
                <a:gd name="T33" fmla="*/ 109 h 2345"/>
                <a:gd name="T34" fmla="*/ 1323 w 1534"/>
                <a:gd name="T35" fmla="*/ 40 h 2345"/>
                <a:gd name="T36" fmla="*/ 1388 w 1534"/>
                <a:gd name="T37" fmla="*/ 3 h 2345"/>
                <a:gd name="T38" fmla="*/ 1449 w 1534"/>
                <a:gd name="T39" fmla="*/ 5 h 2345"/>
                <a:gd name="T40" fmla="*/ 1508 w 1534"/>
                <a:gd name="T41" fmla="*/ 45 h 2345"/>
                <a:gd name="T42" fmla="*/ 1534 w 1534"/>
                <a:gd name="T43" fmla="*/ 109 h 2345"/>
                <a:gd name="T44" fmla="*/ 1531 w 1534"/>
                <a:gd name="T45" fmla="*/ 166 h 2345"/>
                <a:gd name="T46" fmla="*/ 1520 w 1534"/>
                <a:gd name="T47" fmla="*/ 248 h 2345"/>
                <a:gd name="T48" fmla="*/ 1503 w 1534"/>
                <a:gd name="T49" fmla="*/ 349 h 2345"/>
                <a:gd name="T50" fmla="*/ 1478 w 1534"/>
                <a:gd name="T51" fmla="*/ 448 h 2345"/>
                <a:gd name="T52" fmla="*/ 1454 w 1534"/>
                <a:gd name="T53" fmla="*/ 504 h 2345"/>
                <a:gd name="T54" fmla="*/ 1443 w 1534"/>
                <a:gd name="T55" fmla="*/ 522 h 2345"/>
                <a:gd name="T56" fmla="*/ 1422 w 1534"/>
                <a:gd name="T57" fmla="*/ 551 h 2345"/>
                <a:gd name="T58" fmla="*/ 1382 w 1534"/>
                <a:gd name="T59" fmla="*/ 595 h 2345"/>
                <a:gd name="T60" fmla="*/ 1317 w 1534"/>
                <a:gd name="T61" fmla="*/ 660 h 2345"/>
                <a:gd name="T62" fmla="*/ 1220 w 1534"/>
                <a:gd name="T63" fmla="*/ 751 h 2345"/>
                <a:gd name="T64" fmla="*/ 1140 w 1534"/>
                <a:gd name="T65" fmla="*/ 822 h 2345"/>
                <a:gd name="T66" fmla="*/ 1076 w 1534"/>
                <a:gd name="T67" fmla="*/ 879 h 2345"/>
                <a:gd name="T68" fmla="*/ 1048 w 1534"/>
                <a:gd name="T69" fmla="*/ 2219 h 2345"/>
                <a:gd name="T70" fmla="*/ 1026 w 1534"/>
                <a:gd name="T71" fmla="*/ 2289 h 2345"/>
                <a:gd name="T72" fmla="*/ 970 w 1534"/>
                <a:gd name="T73" fmla="*/ 2336 h 2345"/>
                <a:gd name="T74" fmla="*/ 895 w 1534"/>
                <a:gd name="T75" fmla="*/ 2343 h 2345"/>
                <a:gd name="T76" fmla="*/ 832 w 1534"/>
                <a:gd name="T77" fmla="*/ 2309 h 2345"/>
                <a:gd name="T78" fmla="*/ 797 w 1534"/>
                <a:gd name="T79" fmla="*/ 2244 h 2345"/>
                <a:gd name="T80" fmla="*/ 714 w 1534"/>
                <a:gd name="T81" fmla="*/ 1517 h 2345"/>
                <a:gd name="T82" fmla="*/ 704 w 1534"/>
                <a:gd name="T83" fmla="*/ 2268 h 2345"/>
                <a:gd name="T84" fmla="*/ 659 w 1534"/>
                <a:gd name="T85" fmla="*/ 2324 h 2345"/>
                <a:gd name="T86" fmla="*/ 588 w 1534"/>
                <a:gd name="T87" fmla="*/ 2345 h 2345"/>
                <a:gd name="T88" fmla="*/ 517 w 1534"/>
                <a:gd name="T89" fmla="*/ 2324 h 2345"/>
                <a:gd name="T90" fmla="*/ 471 w 1534"/>
                <a:gd name="T91" fmla="*/ 2268 h 2345"/>
                <a:gd name="T92" fmla="*/ 461 w 1534"/>
                <a:gd name="T93" fmla="*/ 882 h 2345"/>
                <a:gd name="T94" fmla="*/ 396 w 1534"/>
                <a:gd name="T95" fmla="*/ 824 h 2345"/>
                <a:gd name="T96" fmla="*/ 314 w 1534"/>
                <a:gd name="T97" fmla="*/ 751 h 2345"/>
                <a:gd name="T98" fmla="*/ 217 w 1534"/>
                <a:gd name="T99" fmla="*/ 660 h 2345"/>
                <a:gd name="T100" fmla="*/ 152 w 1534"/>
                <a:gd name="T101" fmla="*/ 595 h 2345"/>
                <a:gd name="T102" fmla="*/ 112 w 1534"/>
                <a:gd name="T103" fmla="*/ 551 h 2345"/>
                <a:gd name="T104" fmla="*/ 91 w 1534"/>
                <a:gd name="T105" fmla="*/ 522 h 2345"/>
                <a:gd name="T106" fmla="*/ 80 w 1534"/>
                <a:gd name="T107" fmla="*/ 504 h 2345"/>
                <a:gd name="T108" fmla="*/ 56 w 1534"/>
                <a:gd name="T109" fmla="*/ 448 h 2345"/>
                <a:gd name="T110" fmla="*/ 32 w 1534"/>
                <a:gd name="T111" fmla="*/ 349 h 2345"/>
                <a:gd name="T112" fmla="*/ 14 w 1534"/>
                <a:gd name="T113" fmla="*/ 248 h 2345"/>
                <a:gd name="T114" fmla="*/ 3 w 1534"/>
                <a:gd name="T115" fmla="*/ 166 h 2345"/>
                <a:gd name="T116" fmla="*/ 0 w 1534"/>
                <a:gd name="T117" fmla="*/ 109 h 2345"/>
                <a:gd name="T118" fmla="*/ 26 w 1534"/>
                <a:gd name="T119" fmla="*/ 45 h 2345"/>
                <a:gd name="T120" fmla="*/ 85 w 1534"/>
                <a:gd name="T121" fmla="*/ 5 h 2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4" h="2345">
                  <a:moveTo>
                    <a:pt x="121" y="0"/>
                  </a:moveTo>
                  <a:lnTo>
                    <a:pt x="147" y="2"/>
                  </a:lnTo>
                  <a:lnTo>
                    <a:pt x="172" y="10"/>
                  </a:lnTo>
                  <a:lnTo>
                    <a:pt x="193" y="23"/>
                  </a:lnTo>
                  <a:lnTo>
                    <a:pt x="211" y="40"/>
                  </a:lnTo>
                  <a:lnTo>
                    <a:pt x="226" y="61"/>
                  </a:lnTo>
                  <a:lnTo>
                    <a:pt x="236" y="84"/>
                  </a:lnTo>
                  <a:lnTo>
                    <a:pt x="241" y="109"/>
                  </a:lnTo>
                  <a:lnTo>
                    <a:pt x="245" y="145"/>
                  </a:lnTo>
                  <a:lnTo>
                    <a:pt x="250" y="181"/>
                  </a:lnTo>
                  <a:lnTo>
                    <a:pt x="255" y="217"/>
                  </a:lnTo>
                  <a:lnTo>
                    <a:pt x="262" y="254"/>
                  </a:lnTo>
                  <a:lnTo>
                    <a:pt x="268" y="288"/>
                  </a:lnTo>
                  <a:lnTo>
                    <a:pt x="274" y="320"/>
                  </a:lnTo>
                  <a:lnTo>
                    <a:pt x="281" y="348"/>
                  </a:lnTo>
                  <a:lnTo>
                    <a:pt x="287" y="371"/>
                  </a:lnTo>
                  <a:lnTo>
                    <a:pt x="294" y="388"/>
                  </a:lnTo>
                  <a:lnTo>
                    <a:pt x="301" y="398"/>
                  </a:lnTo>
                  <a:lnTo>
                    <a:pt x="313" y="411"/>
                  </a:lnTo>
                  <a:lnTo>
                    <a:pt x="327" y="426"/>
                  </a:lnTo>
                  <a:lnTo>
                    <a:pt x="345" y="445"/>
                  </a:lnTo>
                  <a:lnTo>
                    <a:pt x="366" y="465"/>
                  </a:lnTo>
                  <a:lnTo>
                    <a:pt x="388" y="486"/>
                  </a:lnTo>
                  <a:lnTo>
                    <a:pt x="413" y="510"/>
                  </a:lnTo>
                  <a:lnTo>
                    <a:pt x="439" y="534"/>
                  </a:lnTo>
                  <a:lnTo>
                    <a:pt x="467" y="561"/>
                  </a:lnTo>
                  <a:lnTo>
                    <a:pt x="496" y="587"/>
                  </a:lnTo>
                  <a:lnTo>
                    <a:pt x="526" y="614"/>
                  </a:lnTo>
                  <a:lnTo>
                    <a:pt x="557" y="642"/>
                  </a:lnTo>
                  <a:lnTo>
                    <a:pt x="977" y="642"/>
                  </a:lnTo>
                  <a:lnTo>
                    <a:pt x="1009" y="614"/>
                  </a:lnTo>
                  <a:lnTo>
                    <a:pt x="1038" y="587"/>
                  </a:lnTo>
                  <a:lnTo>
                    <a:pt x="1067" y="561"/>
                  </a:lnTo>
                  <a:lnTo>
                    <a:pt x="1096" y="534"/>
                  </a:lnTo>
                  <a:lnTo>
                    <a:pt x="1122" y="510"/>
                  </a:lnTo>
                  <a:lnTo>
                    <a:pt x="1146" y="486"/>
                  </a:lnTo>
                  <a:lnTo>
                    <a:pt x="1168" y="465"/>
                  </a:lnTo>
                  <a:lnTo>
                    <a:pt x="1190" y="445"/>
                  </a:lnTo>
                  <a:lnTo>
                    <a:pt x="1207" y="426"/>
                  </a:lnTo>
                  <a:lnTo>
                    <a:pt x="1221" y="411"/>
                  </a:lnTo>
                  <a:lnTo>
                    <a:pt x="1233" y="398"/>
                  </a:lnTo>
                  <a:lnTo>
                    <a:pt x="1240" y="388"/>
                  </a:lnTo>
                  <a:lnTo>
                    <a:pt x="1247" y="371"/>
                  </a:lnTo>
                  <a:lnTo>
                    <a:pt x="1253" y="348"/>
                  </a:lnTo>
                  <a:lnTo>
                    <a:pt x="1260" y="320"/>
                  </a:lnTo>
                  <a:lnTo>
                    <a:pt x="1266" y="288"/>
                  </a:lnTo>
                  <a:lnTo>
                    <a:pt x="1272" y="254"/>
                  </a:lnTo>
                  <a:lnTo>
                    <a:pt x="1278" y="217"/>
                  </a:lnTo>
                  <a:lnTo>
                    <a:pt x="1284" y="181"/>
                  </a:lnTo>
                  <a:lnTo>
                    <a:pt x="1289" y="145"/>
                  </a:lnTo>
                  <a:lnTo>
                    <a:pt x="1293" y="109"/>
                  </a:lnTo>
                  <a:lnTo>
                    <a:pt x="1298" y="84"/>
                  </a:lnTo>
                  <a:lnTo>
                    <a:pt x="1308" y="61"/>
                  </a:lnTo>
                  <a:lnTo>
                    <a:pt x="1323" y="40"/>
                  </a:lnTo>
                  <a:lnTo>
                    <a:pt x="1341" y="23"/>
                  </a:lnTo>
                  <a:lnTo>
                    <a:pt x="1363" y="10"/>
                  </a:lnTo>
                  <a:lnTo>
                    <a:pt x="1388" y="3"/>
                  </a:lnTo>
                  <a:lnTo>
                    <a:pt x="1414" y="0"/>
                  </a:lnTo>
                  <a:lnTo>
                    <a:pt x="1426" y="0"/>
                  </a:lnTo>
                  <a:lnTo>
                    <a:pt x="1449" y="5"/>
                  </a:lnTo>
                  <a:lnTo>
                    <a:pt x="1472" y="14"/>
                  </a:lnTo>
                  <a:lnTo>
                    <a:pt x="1491" y="28"/>
                  </a:lnTo>
                  <a:lnTo>
                    <a:pt x="1508" y="45"/>
                  </a:lnTo>
                  <a:lnTo>
                    <a:pt x="1521" y="64"/>
                  </a:lnTo>
                  <a:lnTo>
                    <a:pt x="1530" y="86"/>
                  </a:lnTo>
                  <a:lnTo>
                    <a:pt x="1534" y="109"/>
                  </a:lnTo>
                  <a:lnTo>
                    <a:pt x="1534" y="133"/>
                  </a:lnTo>
                  <a:lnTo>
                    <a:pt x="1533" y="147"/>
                  </a:lnTo>
                  <a:lnTo>
                    <a:pt x="1531" y="166"/>
                  </a:lnTo>
                  <a:lnTo>
                    <a:pt x="1528" y="189"/>
                  </a:lnTo>
                  <a:lnTo>
                    <a:pt x="1525" y="217"/>
                  </a:lnTo>
                  <a:lnTo>
                    <a:pt x="1520" y="248"/>
                  </a:lnTo>
                  <a:lnTo>
                    <a:pt x="1515" y="280"/>
                  </a:lnTo>
                  <a:lnTo>
                    <a:pt x="1509" y="314"/>
                  </a:lnTo>
                  <a:lnTo>
                    <a:pt x="1503" y="349"/>
                  </a:lnTo>
                  <a:lnTo>
                    <a:pt x="1495" y="383"/>
                  </a:lnTo>
                  <a:lnTo>
                    <a:pt x="1487" y="416"/>
                  </a:lnTo>
                  <a:lnTo>
                    <a:pt x="1478" y="448"/>
                  </a:lnTo>
                  <a:lnTo>
                    <a:pt x="1468" y="476"/>
                  </a:lnTo>
                  <a:lnTo>
                    <a:pt x="1456" y="500"/>
                  </a:lnTo>
                  <a:lnTo>
                    <a:pt x="1454" y="504"/>
                  </a:lnTo>
                  <a:lnTo>
                    <a:pt x="1451" y="509"/>
                  </a:lnTo>
                  <a:lnTo>
                    <a:pt x="1448" y="515"/>
                  </a:lnTo>
                  <a:lnTo>
                    <a:pt x="1443" y="522"/>
                  </a:lnTo>
                  <a:lnTo>
                    <a:pt x="1438" y="530"/>
                  </a:lnTo>
                  <a:lnTo>
                    <a:pt x="1431" y="540"/>
                  </a:lnTo>
                  <a:lnTo>
                    <a:pt x="1422" y="551"/>
                  </a:lnTo>
                  <a:lnTo>
                    <a:pt x="1411" y="564"/>
                  </a:lnTo>
                  <a:lnTo>
                    <a:pt x="1398" y="578"/>
                  </a:lnTo>
                  <a:lnTo>
                    <a:pt x="1382" y="595"/>
                  </a:lnTo>
                  <a:lnTo>
                    <a:pt x="1363" y="614"/>
                  </a:lnTo>
                  <a:lnTo>
                    <a:pt x="1341" y="636"/>
                  </a:lnTo>
                  <a:lnTo>
                    <a:pt x="1317" y="660"/>
                  </a:lnTo>
                  <a:lnTo>
                    <a:pt x="1289" y="687"/>
                  </a:lnTo>
                  <a:lnTo>
                    <a:pt x="1256" y="717"/>
                  </a:lnTo>
                  <a:lnTo>
                    <a:pt x="1220" y="751"/>
                  </a:lnTo>
                  <a:lnTo>
                    <a:pt x="1193" y="776"/>
                  </a:lnTo>
                  <a:lnTo>
                    <a:pt x="1166" y="799"/>
                  </a:lnTo>
                  <a:lnTo>
                    <a:pt x="1140" y="822"/>
                  </a:lnTo>
                  <a:lnTo>
                    <a:pt x="1117" y="844"/>
                  </a:lnTo>
                  <a:lnTo>
                    <a:pt x="1096" y="863"/>
                  </a:lnTo>
                  <a:lnTo>
                    <a:pt x="1076" y="879"/>
                  </a:lnTo>
                  <a:lnTo>
                    <a:pt x="1060" y="893"/>
                  </a:lnTo>
                  <a:lnTo>
                    <a:pt x="1047" y="904"/>
                  </a:lnTo>
                  <a:lnTo>
                    <a:pt x="1048" y="2219"/>
                  </a:lnTo>
                  <a:lnTo>
                    <a:pt x="1045" y="2244"/>
                  </a:lnTo>
                  <a:lnTo>
                    <a:pt x="1038" y="2268"/>
                  </a:lnTo>
                  <a:lnTo>
                    <a:pt x="1026" y="2289"/>
                  </a:lnTo>
                  <a:lnTo>
                    <a:pt x="1011" y="2309"/>
                  </a:lnTo>
                  <a:lnTo>
                    <a:pt x="991" y="2324"/>
                  </a:lnTo>
                  <a:lnTo>
                    <a:pt x="970" y="2336"/>
                  </a:lnTo>
                  <a:lnTo>
                    <a:pt x="947" y="2343"/>
                  </a:lnTo>
                  <a:lnTo>
                    <a:pt x="921" y="2345"/>
                  </a:lnTo>
                  <a:lnTo>
                    <a:pt x="895" y="2343"/>
                  </a:lnTo>
                  <a:lnTo>
                    <a:pt x="872" y="2336"/>
                  </a:lnTo>
                  <a:lnTo>
                    <a:pt x="850" y="2324"/>
                  </a:lnTo>
                  <a:lnTo>
                    <a:pt x="832" y="2309"/>
                  </a:lnTo>
                  <a:lnTo>
                    <a:pt x="817" y="2289"/>
                  </a:lnTo>
                  <a:lnTo>
                    <a:pt x="804" y="2268"/>
                  </a:lnTo>
                  <a:lnTo>
                    <a:pt x="797" y="2244"/>
                  </a:lnTo>
                  <a:lnTo>
                    <a:pt x="794" y="2219"/>
                  </a:lnTo>
                  <a:lnTo>
                    <a:pt x="794" y="1517"/>
                  </a:lnTo>
                  <a:lnTo>
                    <a:pt x="714" y="1517"/>
                  </a:lnTo>
                  <a:lnTo>
                    <a:pt x="714" y="2219"/>
                  </a:lnTo>
                  <a:lnTo>
                    <a:pt x="711" y="2244"/>
                  </a:lnTo>
                  <a:lnTo>
                    <a:pt x="704" y="2268"/>
                  </a:lnTo>
                  <a:lnTo>
                    <a:pt x="692" y="2289"/>
                  </a:lnTo>
                  <a:lnTo>
                    <a:pt x="677" y="2309"/>
                  </a:lnTo>
                  <a:lnTo>
                    <a:pt x="659" y="2324"/>
                  </a:lnTo>
                  <a:lnTo>
                    <a:pt x="637" y="2336"/>
                  </a:lnTo>
                  <a:lnTo>
                    <a:pt x="613" y="2343"/>
                  </a:lnTo>
                  <a:lnTo>
                    <a:pt x="588" y="2345"/>
                  </a:lnTo>
                  <a:lnTo>
                    <a:pt x="562" y="2343"/>
                  </a:lnTo>
                  <a:lnTo>
                    <a:pt x="539" y="2336"/>
                  </a:lnTo>
                  <a:lnTo>
                    <a:pt x="517" y="2324"/>
                  </a:lnTo>
                  <a:lnTo>
                    <a:pt x="498" y="2309"/>
                  </a:lnTo>
                  <a:lnTo>
                    <a:pt x="483" y="2289"/>
                  </a:lnTo>
                  <a:lnTo>
                    <a:pt x="471" y="2268"/>
                  </a:lnTo>
                  <a:lnTo>
                    <a:pt x="464" y="2244"/>
                  </a:lnTo>
                  <a:lnTo>
                    <a:pt x="461" y="2219"/>
                  </a:lnTo>
                  <a:lnTo>
                    <a:pt x="461" y="882"/>
                  </a:lnTo>
                  <a:lnTo>
                    <a:pt x="441" y="865"/>
                  </a:lnTo>
                  <a:lnTo>
                    <a:pt x="420" y="846"/>
                  </a:lnTo>
                  <a:lnTo>
                    <a:pt x="396" y="824"/>
                  </a:lnTo>
                  <a:lnTo>
                    <a:pt x="370" y="801"/>
                  </a:lnTo>
                  <a:lnTo>
                    <a:pt x="342" y="776"/>
                  </a:lnTo>
                  <a:lnTo>
                    <a:pt x="314" y="751"/>
                  </a:lnTo>
                  <a:lnTo>
                    <a:pt x="278" y="717"/>
                  </a:lnTo>
                  <a:lnTo>
                    <a:pt x="245" y="687"/>
                  </a:lnTo>
                  <a:lnTo>
                    <a:pt x="217" y="660"/>
                  </a:lnTo>
                  <a:lnTo>
                    <a:pt x="193" y="636"/>
                  </a:lnTo>
                  <a:lnTo>
                    <a:pt x="171" y="614"/>
                  </a:lnTo>
                  <a:lnTo>
                    <a:pt x="152" y="595"/>
                  </a:lnTo>
                  <a:lnTo>
                    <a:pt x="136" y="578"/>
                  </a:lnTo>
                  <a:lnTo>
                    <a:pt x="123" y="564"/>
                  </a:lnTo>
                  <a:lnTo>
                    <a:pt x="112" y="551"/>
                  </a:lnTo>
                  <a:lnTo>
                    <a:pt x="103" y="540"/>
                  </a:lnTo>
                  <a:lnTo>
                    <a:pt x="96" y="530"/>
                  </a:lnTo>
                  <a:lnTo>
                    <a:pt x="91" y="522"/>
                  </a:lnTo>
                  <a:lnTo>
                    <a:pt x="86" y="515"/>
                  </a:lnTo>
                  <a:lnTo>
                    <a:pt x="83" y="509"/>
                  </a:lnTo>
                  <a:lnTo>
                    <a:pt x="80" y="504"/>
                  </a:lnTo>
                  <a:lnTo>
                    <a:pt x="78" y="500"/>
                  </a:lnTo>
                  <a:lnTo>
                    <a:pt x="66" y="476"/>
                  </a:lnTo>
                  <a:lnTo>
                    <a:pt x="56" y="448"/>
                  </a:lnTo>
                  <a:lnTo>
                    <a:pt x="47" y="416"/>
                  </a:lnTo>
                  <a:lnTo>
                    <a:pt x="39" y="383"/>
                  </a:lnTo>
                  <a:lnTo>
                    <a:pt x="32" y="349"/>
                  </a:lnTo>
                  <a:lnTo>
                    <a:pt x="25" y="314"/>
                  </a:lnTo>
                  <a:lnTo>
                    <a:pt x="19" y="280"/>
                  </a:lnTo>
                  <a:lnTo>
                    <a:pt x="14" y="248"/>
                  </a:lnTo>
                  <a:lnTo>
                    <a:pt x="10" y="217"/>
                  </a:lnTo>
                  <a:lnTo>
                    <a:pt x="6" y="189"/>
                  </a:lnTo>
                  <a:lnTo>
                    <a:pt x="3" y="166"/>
                  </a:lnTo>
                  <a:lnTo>
                    <a:pt x="1" y="147"/>
                  </a:lnTo>
                  <a:lnTo>
                    <a:pt x="0" y="133"/>
                  </a:lnTo>
                  <a:lnTo>
                    <a:pt x="0" y="109"/>
                  </a:lnTo>
                  <a:lnTo>
                    <a:pt x="5" y="86"/>
                  </a:lnTo>
                  <a:lnTo>
                    <a:pt x="14" y="64"/>
                  </a:lnTo>
                  <a:lnTo>
                    <a:pt x="26" y="45"/>
                  </a:lnTo>
                  <a:lnTo>
                    <a:pt x="43" y="28"/>
                  </a:lnTo>
                  <a:lnTo>
                    <a:pt x="62" y="14"/>
                  </a:lnTo>
                  <a:lnTo>
                    <a:pt x="85" y="5"/>
                  </a:lnTo>
                  <a:lnTo>
                    <a:pt x="109" y="0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1"/>
            <p:cNvSpPr>
              <a:spLocks/>
            </p:cNvSpPr>
            <p:nvPr/>
          </p:nvSpPr>
          <p:spPr bwMode="auto">
            <a:xfrm>
              <a:off x="3504" y="1538"/>
              <a:ext cx="434" cy="435"/>
            </a:xfrm>
            <a:custGeom>
              <a:avLst/>
              <a:gdLst>
                <a:gd name="T0" fmla="*/ 217 w 434"/>
                <a:gd name="T1" fmla="*/ 0 h 435"/>
                <a:gd name="T2" fmla="*/ 252 w 434"/>
                <a:gd name="T3" fmla="*/ 3 h 435"/>
                <a:gd name="T4" fmla="*/ 286 w 434"/>
                <a:gd name="T5" fmla="*/ 11 h 435"/>
                <a:gd name="T6" fmla="*/ 317 w 434"/>
                <a:gd name="T7" fmla="*/ 24 h 435"/>
                <a:gd name="T8" fmla="*/ 345 w 434"/>
                <a:gd name="T9" fmla="*/ 42 h 435"/>
                <a:gd name="T10" fmla="*/ 371 w 434"/>
                <a:gd name="T11" fmla="*/ 63 h 435"/>
                <a:gd name="T12" fmla="*/ 393 w 434"/>
                <a:gd name="T13" fmla="*/ 89 h 435"/>
                <a:gd name="T14" fmla="*/ 410 w 434"/>
                <a:gd name="T15" fmla="*/ 118 h 435"/>
                <a:gd name="T16" fmla="*/ 423 w 434"/>
                <a:gd name="T17" fmla="*/ 149 h 435"/>
                <a:gd name="T18" fmla="*/ 431 w 434"/>
                <a:gd name="T19" fmla="*/ 183 h 435"/>
                <a:gd name="T20" fmla="*/ 434 w 434"/>
                <a:gd name="T21" fmla="*/ 218 h 435"/>
                <a:gd name="T22" fmla="*/ 431 w 434"/>
                <a:gd name="T23" fmla="*/ 252 h 435"/>
                <a:gd name="T24" fmla="*/ 423 w 434"/>
                <a:gd name="T25" fmla="*/ 287 h 435"/>
                <a:gd name="T26" fmla="*/ 410 w 434"/>
                <a:gd name="T27" fmla="*/ 317 h 435"/>
                <a:gd name="T28" fmla="*/ 393 w 434"/>
                <a:gd name="T29" fmla="*/ 346 h 435"/>
                <a:gd name="T30" fmla="*/ 371 w 434"/>
                <a:gd name="T31" fmla="*/ 371 h 435"/>
                <a:gd name="T32" fmla="*/ 345 w 434"/>
                <a:gd name="T33" fmla="*/ 393 h 435"/>
                <a:gd name="T34" fmla="*/ 317 w 434"/>
                <a:gd name="T35" fmla="*/ 411 h 435"/>
                <a:gd name="T36" fmla="*/ 286 w 434"/>
                <a:gd name="T37" fmla="*/ 424 h 435"/>
                <a:gd name="T38" fmla="*/ 252 w 434"/>
                <a:gd name="T39" fmla="*/ 432 h 435"/>
                <a:gd name="T40" fmla="*/ 217 w 434"/>
                <a:gd name="T41" fmla="*/ 435 h 435"/>
                <a:gd name="T42" fmla="*/ 182 w 434"/>
                <a:gd name="T43" fmla="*/ 432 h 435"/>
                <a:gd name="T44" fmla="*/ 148 w 434"/>
                <a:gd name="T45" fmla="*/ 424 h 435"/>
                <a:gd name="T46" fmla="*/ 117 w 434"/>
                <a:gd name="T47" fmla="*/ 411 h 435"/>
                <a:gd name="T48" fmla="*/ 89 w 434"/>
                <a:gd name="T49" fmla="*/ 393 h 435"/>
                <a:gd name="T50" fmla="*/ 63 w 434"/>
                <a:gd name="T51" fmla="*/ 371 h 435"/>
                <a:gd name="T52" fmla="*/ 41 w 434"/>
                <a:gd name="T53" fmla="*/ 346 h 435"/>
                <a:gd name="T54" fmla="*/ 24 w 434"/>
                <a:gd name="T55" fmla="*/ 317 h 435"/>
                <a:gd name="T56" fmla="*/ 11 w 434"/>
                <a:gd name="T57" fmla="*/ 287 h 435"/>
                <a:gd name="T58" fmla="*/ 2 w 434"/>
                <a:gd name="T59" fmla="*/ 252 h 435"/>
                <a:gd name="T60" fmla="*/ 0 w 434"/>
                <a:gd name="T61" fmla="*/ 218 h 435"/>
                <a:gd name="T62" fmla="*/ 2 w 434"/>
                <a:gd name="T63" fmla="*/ 183 h 435"/>
                <a:gd name="T64" fmla="*/ 11 w 434"/>
                <a:gd name="T65" fmla="*/ 149 h 435"/>
                <a:gd name="T66" fmla="*/ 24 w 434"/>
                <a:gd name="T67" fmla="*/ 118 h 435"/>
                <a:gd name="T68" fmla="*/ 41 w 434"/>
                <a:gd name="T69" fmla="*/ 89 h 435"/>
                <a:gd name="T70" fmla="*/ 63 w 434"/>
                <a:gd name="T71" fmla="*/ 63 h 435"/>
                <a:gd name="T72" fmla="*/ 89 w 434"/>
                <a:gd name="T73" fmla="*/ 42 h 435"/>
                <a:gd name="T74" fmla="*/ 117 w 434"/>
                <a:gd name="T75" fmla="*/ 24 h 435"/>
                <a:gd name="T76" fmla="*/ 148 w 434"/>
                <a:gd name="T77" fmla="*/ 11 h 435"/>
                <a:gd name="T78" fmla="*/ 182 w 434"/>
                <a:gd name="T79" fmla="*/ 3 h 435"/>
                <a:gd name="T80" fmla="*/ 217 w 434"/>
                <a:gd name="T81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4" h="435">
                  <a:moveTo>
                    <a:pt x="217" y="0"/>
                  </a:moveTo>
                  <a:lnTo>
                    <a:pt x="252" y="3"/>
                  </a:lnTo>
                  <a:lnTo>
                    <a:pt x="286" y="11"/>
                  </a:lnTo>
                  <a:lnTo>
                    <a:pt x="317" y="24"/>
                  </a:lnTo>
                  <a:lnTo>
                    <a:pt x="345" y="42"/>
                  </a:lnTo>
                  <a:lnTo>
                    <a:pt x="371" y="63"/>
                  </a:lnTo>
                  <a:lnTo>
                    <a:pt x="393" y="89"/>
                  </a:lnTo>
                  <a:lnTo>
                    <a:pt x="410" y="118"/>
                  </a:lnTo>
                  <a:lnTo>
                    <a:pt x="423" y="149"/>
                  </a:lnTo>
                  <a:lnTo>
                    <a:pt x="431" y="183"/>
                  </a:lnTo>
                  <a:lnTo>
                    <a:pt x="434" y="218"/>
                  </a:lnTo>
                  <a:lnTo>
                    <a:pt x="431" y="252"/>
                  </a:lnTo>
                  <a:lnTo>
                    <a:pt x="423" y="287"/>
                  </a:lnTo>
                  <a:lnTo>
                    <a:pt x="410" y="317"/>
                  </a:lnTo>
                  <a:lnTo>
                    <a:pt x="393" y="346"/>
                  </a:lnTo>
                  <a:lnTo>
                    <a:pt x="371" y="371"/>
                  </a:lnTo>
                  <a:lnTo>
                    <a:pt x="345" y="393"/>
                  </a:lnTo>
                  <a:lnTo>
                    <a:pt x="317" y="411"/>
                  </a:lnTo>
                  <a:lnTo>
                    <a:pt x="286" y="424"/>
                  </a:lnTo>
                  <a:lnTo>
                    <a:pt x="252" y="432"/>
                  </a:lnTo>
                  <a:lnTo>
                    <a:pt x="217" y="435"/>
                  </a:lnTo>
                  <a:lnTo>
                    <a:pt x="182" y="432"/>
                  </a:lnTo>
                  <a:lnTo>
                    <a:pt x="148" y="424"/>
                  </a:lnTo>
                  <a:lnTo>
                    <a:pt x="117" y="411"/>
                  </a:lnTo>
                  <a:lnTo>
                    <a:pt x="89" y="393"/>
                  </a:lnTo>
                  <a:lnTo>
                    <a:pt x="63" y="371"/>
                  </a:lnTo>
                  <a:lnTo>
                    <a:pt x="41" y="346"/>
                  </a:lnTo>
                  <a:lnTo>
                    <a:pt x="24" y="317"/>
                  </a:lnTo>
                  <a:lnTo>
                    <a:pt x="11" y="287"/>
                  </a:lnTo>
                  <a:lnTo>
                    <a:pt x="2" y="252"/>
                  </a:lnTo>
                  <a:lnTo>
                    <a:pt x="0" y="218"/>
                  </a:lnTo>
                  <a:lnTo>
                    <a:pt x="2" y="183"/>
                  </a:lnTo>
                  <a:lnTo>
                    <a:pt x="11" y="149"/>
                  </a:lnTo>
                  <a:lnTo>
                    <a:pt x="24" y="118"/>
                  </a:lnTo>
                  <a:lnTo>
                    <a:pt x="41" y="89"/>
                  </a:lnTo>
                  <a:lnTo>
                    <a:pt x="63" y="63"/>
                  </a:lnTo>
                  <a:lnTo>
                    <a:pt x="89" y="42"/>
                  </a:lnTo>
                  <a:lnTo>
                    <a:pt x="117" y="24"/>
                  </a:lnTo>
                  <a:lnTo>
                    <a:pt x="148" y="11"/>
                  </a:lnTo>
                  <a:lnTo>
                    <a:pt x="182" y="3"/>
                  </a:lnTo>
                  <a:lnTo>
                    <a:pt x="2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12"/>
            <p:cNvSpPr>
              <a:spLocks/>
            </p:cNvSpPr>
            <p:nvPr/>
          </p:nvSpPr>
          <p:spPr bwMode="auto">
            <a:xfrm>
              <a:off x="3330" y="1951"/>
              <a:ext cx="1212" cy="1317"/>
            </a:xfrm>
            <a:custGeom>
              <a:avLst/>
              <a:gdLst>
                <a:gd name="T0" fmla="*/ 1005 w 1212"/>
                <a:gd name="T1" fmla="*/ 3 h 1317"/>
                <a:gd name="T2" fmla="*/ 1049 w 1212"/>
                <a:gd name="T3" fmla="*/ 31 h 1317"/>
                <a:gd name="T4" fmla="*/ 1211 w 1212"/>
                <a:gd name="T5" fmla="*/ 408 h 1317"/>
                <a:gd name="T6" fmla="*/ 1197 w 1212"/>
                <a:gd name="T7" fmla="*/ 465 h 1317"/>
                <a:gd name="T8" fmla="*/ 1151 w 1212"/>
                <a:gd name="T9" fmla="*/ 494 h 1317"/>
                <a:gd name="T10" fmla="*/ 1101 w 1212"/>
                <a:gd name="T11" fmla="*/ 488 h 1317"/>
                <a:gd name="T12" fmla="*/ 1064 w 1212"/>
                <a:gd name="T13" fmla="*/ 449 h 1317"/>
                <a:gd name="T14" fmla="*/ 1031 w 1212"/>
                <a:gd name="T15" fmla="*/ 1063 h 1317"/>
                <a:gd name="T16" fmla="*/ 992 w 1212"/>
                <a:gd name="T17" fmla="*/ 1113 h 1317"/>
                <a:gd name="T18" fmla="*/ 927 w 1212"/>
                <a:gd name="T19" fmla="*/ 1121 h 1317"/>
                <a:gd name="T20" fmla="*/ 876 w 1212"/>
                <a:gd name="T21" fmla="*/ 1082 h 1317"/>
                <a:gd name="T22" fmla="*/ 864 w 1212"/>
                <a:gd name="T23" fmla="*/ 606 h 1317"/>
                <a:gd name="T24" fmla="*/ 826 w 1212"/>
                <a:gd name="T25" fmla="*/ 1063 h 1317"/>
                <a:gd name="T26" fmla="*/ 787 w 1212"/>
                <a:gd name="T27" fmla="*/ 1113 h 1317"/>
                <a:gd name="T28" fmla="*/ 722 w 1212"/>
                <a:gd name="T29" fmla="*/ 1121 h 1317"/>
                <a:gd name="T30" fmla="*/ 671 w 1212"/>
                <a:gd name="T31" fmla="*/ 1082 h 1317"/>
                <a:gd name="T32" fmla="*/ 660 w 1212"/>
                <a:gd name="T33" fmla="*/ 582 h 1317"/>
                <a:gd name="T34" fmla="*/ 610 w 1212"/>
                <a:gd name="T35" fmla="*/ 479 h 1317"/>
                <a:gd name="T36" fmla="*/ 607 w 1212"/>
                <a:gd name="T37" fmla="*/ 1245 h 1317"/>
                <a:gd name="T38" fmla="*/ 574 w 1212"/>
                <a:gd name="T39" fmla="*/ 1297 h 1317"/>
                <a:gd name="T40" fmla="*/ 514 w 1212"/>
                <a:gd name="T41" fmla="*/ 1317 h 1317"/>
                <a:gd name="T42" fmla="*/ 456 w 1212"/>
                <a:gd name="T43" fmla="*/ 1297 h 1317"/>
                <a:gd name="T44" fmla="*/ 422 w 1212"/>
                <a:gd name="T45" fmla="*/ 1245 h 1317"/>
                <a:gd name="T46" fmla="*/ 380 w 1212"/>
                <a:gd name="T47" fmla="*/ 729 h 1317"/>
                <a:gd name="T48" fmla="*/ 370 w 1212"/>
                <a:gd name="T49" fmla="*/ 1265 h 1317"/>
                <a:gd name="T50" fmla="*/ 326 w 1212"/>
                <a:gd name="T51" fmla="*/ 1308 h 1317"/>
                <a:gd name="T52" fmla="*/ 263 w 1212"/>
                <a:gd name="T53" fmla="*/ 1315 h 1317"/>
                <a:gd name="T54" fmla="*/ 210 w 1212"/>
                <a:gd name="T55" fmla="*/ 1282 h 1317"/>
                <a:gd name="T56" fmla="*/ 189 w 1212"/>
                <a:gd name="T57" fmla="*/ 1222 h 1317"/>
                <a:gd name="T58" fmla="*/ 155 w 1212"/>
                <a:gd name="T59" fmla="*/ 577 h 1317"/>
                <a:gd name="T60" fmla="*/ 106 w 1212"/>
                <a:gd name="T61" fmla="*/ 608 h 1317"/>
                <a:gd name="T62" fmla="*/ 51 w 1212"/>
                <a:gd name="T63" fmla="*/ 604 h 1317"/>
                <a:gd name="T64" fmla="*/ 13 w 1212"/>
                <a:gd name="T65" fmla="*/ 572 h 1317"/>
                <a:gd name="T66" fmla="*/ 1 w 1212"/>
                <a:gd name="T67" fmla="*/ 512 h 1317"/>
                <a:gd name="T68" fmla="*/ 183 w 1212"/>
                <a:gd name="T69" fmla="*/ 88 h 1317"/>
                <a:gd name="T70" fmla="*/ 229 w 1212"/>
                <a:gd name="T71" fmla="*/ 56 h 1317"/>
                <a:gd name="T72" fmla="*/ 264 w 1212"/>
                <a:gd name="T73" fmla="*/ 53 h 1317"/>
                <a:gd name="T74" fmla="*/ 322 w 1212"/>
                <a:gd name="T75" fmla="*/ 53 h 1317"/>
                <a:gd name="T76" fmla="*/ 404 w 1212"/>
                <a:gd name="T77" fmla="*/ 53 h 1317"/>
                <a:gd name="T78" fmla="*/ 486 w 1212"/>
                <a:gd name="T79" fmla="*/ 53 h 1317"/>
                <a:gd name="T80" fmla="*/ 544 w 1212"/>
                <a:gd name="T81" fmla="*/ 53 h 1317"/>
                <a:gd name="T82" fmla="*/ 576 w 1212"/>
                <a:gd name="T83" fmla="*/ 55 h 1317"/>
                <a:gd name="T84" fmla="*/ 624 w 1212"/>
                <a:gd name="T85" fmla="*/ 84 h 1317"/>
                <a:gd name="T86" fmla="*/ 661 w 1212"/>
                <a:gd name="T87" fmla="*/ 18 h 1317"/>
                <a:gd name="T88" fmla="*/ 711 w 1212"/>
                <a:gd name="T89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2" h="1317">
                  <a:moveTo>
                    <a:pt x="711" y="0"/>
                  </a:moveTo>
                  <a:lnTo>
                    <a:pt x="988" y="0"/>
                  </a:lnTo>
                  <a:lnTo>
                    <a:pt x="1005" y="3"/>
                  </a:lnTo>
                  <a:lnTo>
                    <a:pt x="1022" y="9"/>
                  </a:lnTo>
                  <a:lnTo>
                    <a:pt x="1036" y="18"/>
                  </a:lnTo>
                  <a:lnTo>
                    <a:pt x="1049" y="31"/>
                  </a:lnTo>
                  <a:lnTo>
                    <a:pt x="1057" y="46"/>
                  </a:lnTo>
                  <a:lnTo>
                    <a:pt x="1206" y="389"/>
                  </a:lnTo>
                  <a:lnTo>
                    <a:pt x="1211" y="408"/>
                  </a:lnTo>
                  <a:lnTo>
                    <a:pt x="1212" y="428"/>
                  </a:lnTo>
                  <a:lnTo>
                    <a:pt x="1207" y="447"/>
                  </a:lnTo>
                  <a:lnTo>
                    <a:pt x="1197" y="465"/>
                  </a:lnTo>
                  <a:lnTo>
                    <a:pt x="1183" y="479"/>
                  </a:lnTo>
                  <a:lnTo>
                    <a:pt x="1165" y="490"/>
                  </a:lnTo>
                  <a:lnTo>
                    <a:pt x="1151" y="494"/>
                  </a:lnTo>
                  <a:lnTo>
                    <a:pt x="1135" y="496"/>
                  </a:lnTo>
                  <a:lnTo>
                    <a:pt x="1117" y="494"/>
                  </a:lnTo>
                  <a:lnTo>
                    <a:pt x="1101" y="488"/>
                  </a:lnTo>
                  <a:lnTo>
                    <a:pt x="1086" y="478"/>
                  </a:lnTo>
                  <a:lnTo>
                    <a:pt x="1073" y="465"/>
                  </a:lnTo>
                  <a:lnTo>
                    <a:pt x="1064" y="449"/>
                  </a:lnTo>
                  <a:lnTo>
                    <a:pt x="1034" y="378"/>
                  </a:lnTo>
                  <a:lnTo>
                    <a:pt x="1034" y="1039"/>
                  </a:lnTo>
                  <a:lnTo>
                    <a:pt x="1031" y="1063"/>
                  </a:lnTo>
                  <a:lnTo>
                    <a:pt x="1022" y="1082"/>
                  </a:lnTo>
                  <a:lnTo>
                    <a:pt x="1009" y="1099"/>
                  </a:lnTo>
                  <a:lnTo>
                    <a:pt x="992" y="1113"/>
                  </a:lnTo>
                  <a:lnTo>
                    <a:pt x="971" y="1121"/>
                  </a:lnTo>
                  <a:lnTo>
                    <a:pt x="949" y="1124"/>
                  </a:lnTo>
                  <a:lnTo>
                    <a:pt x="927" y="1121"/>
                  </a:lnTo>
                  <a:lnTo>
                    <a:pt x="907" y="1113"/>
                  </a:lnTo>
                  <a:lnTo>
                    <a:pt x="889" y="1099"/>
                  </a:lnTo>
                  <a:lnTo>
                    <a:pt x="876" y="1082"/>
                  </a:lnTo>
                  <a:lnTo>
                    <a:pt x="867" y="1063"/>
                  </a:lnTo>
                  <a:lnTo>
                    <a:pt x="864" y="1039"/>
                  </a:lnTo>
                  <a:lnTo>
                    <a:pt x="864" y="606"/>
                  </a:lnTo>
                  <a:lnTo>
                    <a:pt x="829" y="606"/>
                  </a:lnTo>
                  <a:lnTo>
                    <a:pt x="829" y="1039"/>
                  </a:lnTo>
                  <a:lnTo>
                    <a:pt x="826" y="1063"/>
                  </a:lnTo>
                  <a:lnTo>
                    <a:pt x="818" y="1082"/>
                  </a:lnTo>
                  <a:lnTo>
                    <a:pt x="805" y="1099"/>
                  </a:lnTo>
                  <a:lnTo>
                    <a:pt x="787" y="1113"/>
                  </a:lnTo>
                  <a:lnTo>
                    <a:pt x="767" y="1121"/>
                  </a:lnTo>
                  <a:lnTo>
                    <a:pt x="745" y="1124"/>
                  </a:lnTo>
                  <a:lnTo>
                    <a:pt x="722" y="1121"/>
                  </a:lnTo>
                  <a:lnTo>
                    <a:pt x="701" y="1113"/>
                  </a:lnTo>
                  <a:lnTo>
                    <a:pt x="684" y="1099"/>
                  </a:lnTo>
                  <a:lnTo>
                    <a:pt x="671" y="1082"/>
                  </a:lnTo>
                  <a:lnTo>
                    <a:pt x="663" y="1063"/>
                  </a:lnTo>
                  <a:lnTo>
                    <a:pt x="660" y="1039"/>
                  </a:lnTo>
                  <a:lnTo>
                    <a:pt x="660" y="582"/>
                  </a:lnTo>
                  <a:lnTo>
                    <a:pt x="652" y="571"/>
                  </a:lnTo>
                  <a:lnTo>
                    <a:pt x="645" y="559"/>
                  </a:lnTo>
                  <a:lnTo>
                    <a:pt x="610" y="479"/>
                  </a:lnTo>
                  <a:lnTo>
                    <a:pt x="609" y="479"/>
                  </a:lnTo>
                  <a:lnTo>
                    <a:pt x="609" y="1222"/>
                  </a:lnTo>
                  <a:lnTo>
                    <a:pt x="607" y="1245"/>
                  </a:lnTo>
                  <a:lnTo>
                    <a:pt x="600" y="1265"/>
                  </a:lnTo>
                  <a:lnTo>
                    <a:pt x="589" y="1282"/>
                  </a:lnTo>
                  <a:lnTo>
                    <a:pt x="574" y="1297"/>
                  </a:lnTo>
                  <a:lnTo>
                    <a:pt x="557" y="1308"/>
                  </a:lnTo>
                  <a:lnTo>
                    <a:pt x="537" y="1315"/>
                  </a:lnTo>
                  <a:lnTo>
                    <a:pt x="514" y="1317"/>
                  </a:lnTo>
                  <a:lnTo>
                    <a:pt x="493" y="1315"/>
                  </a:lnTo>
                  <a:lnTo>
                    <a:pt x="473" y="1308"/>
                  </a:lnTo>
                  <a:lnTo>
                    <a:pt x="456" y="1297"/>
                  </a:lnTo>
                  <a:lnTo>
                    <a:pt x="441" y="1282"/>
                  </a:lnTo>
                  <a:lnTo>
                    <a:pt x="429" y="1265"/>
                  </a:lnTo>
                  <a:lnTo>
                    <a:pt x="422" y="1245"/>
                  </a:lnTo>
                  <a:lnTo>
                    <a:pt x="419" y="1222"/>
                  </a:lnTo>
                  <a:lnTo>
                    <a:pt x="419" y="729"/>
                  </a:lnTo>
                  <a:lnTo>
                    <a:pt x="380" y="729"/>
                  </a:lnTo>
                  <a:lnTo>
                    <a:pt x="380" y="1222"/>
                  </a:lnTo>
                  <a:lnTo>
                    <a:pt x="377" y="1245"/>
                  </a:lnTo>
                  <a:lnTo>
                    <a:pt x="370" y="1265"/>
                  </a:lnTo>
                  <a:lnTo>
                    <a:pt x="359" y="1282"/>
                  </a:lnTo>
                  <a:lnTo>
                    <a:pt x="344" y="1297"/>
                  </a:lnTo>
                  <a:lnTo>
                    <a:pt x="326" y="1308"/>
                  </a:lnTo>
                  <a:lnTo>
                    <a:pt x="306" y="1315"/>
                  </a:lnTo>
                  <a:lnTo>
                    <a:pt x="284" y="1317"/>
                  </a:lnTo>
                  <a:lnTo>
                    <a:pt x="263" y="1315"/>
                  </a:lnTo>
                  <a:lnTo>
                    <a:pt x="242" y="1308"/>
                  </a:lnTo>
                  <a:lnTo>
                    <a:pt x="225" y="1297"/>
                  </a:lnTo>
                  <a:lnTo>
                    <a:pt x="210" y="1282"/>
                  </a:lnTo>
                  <a:lnTo>
                    <a:pt x="199" y="1265"/>
                  </a:lnTo>
                  <a:lnTo>
                    <a:pt x="192" y="1245"/>
                  </a:lnTo>
                  <a:lnTo>
                    <a:pt x="189" y="1222"/>
                  </a:lnTo>
                  <a:lnTo>
                    <a:pt x="189" y="504"/>
                  </a:lnTo>
                  <a:lnTo>
                    <a:pt x="166" y="559"/>
                  </a:lnTo>
                  <a:lnTo>
                    <a:pt x="155" y="577"/>
                  </a:lnTo>
                  <a:lnTo>
                    <a:pt x="141" y="591"/>
                  </a:lnTo>
                  <a:lnTo>
                    <a:pt x="125" y="602"/>
                  </a:lnTo>
                  <a:lnTo>
                    <a:pt x="106" y="608"/>
                  </a:lnTo>
                  <a:lnTo>
                    <a:pt x="86" y="611"/>
                  </a:lnTo>
                  <a:lnTo>
                    <a:pt x="69" y="609"/>
                  </a:lnTo>
                  <a:lnTo>
                    <a:pt x="51" y="604"/>
                  </a:lnTo>
                  <a:lnTo>
                    <a:pt x="37" y="596"/>
                  </a:lnTo>
                  <a:lnTo>
                    <a:pt x="24" y="585"/>
                  </a:lnTo>
                  <a:lnTo>
                    <a:pt x="13" y="572"/>
                  </a:lnTo>
                  <a:lnTo>
                    <a:pt x="6" y="557"/>
                  </a:lnTo>
                  <a:lnTo>
                    <a:pt x="0" y="534"/>
                  </a:lnTo>
                  <a:lnTo>
                    <a:pt x="1" y="512"/>
                  </a:lnTo>
                  <a:lnTo>
                    <a:pt x="7" y="490"/>
                  </a:lnTo>
                  <a:lnTo>
                    <a:pt x="173" y="106"/>
                  </a:lnTo>
                  <a:lnTo>
                    <a:pt x="183" y="88"/>
                  </a:lnTo>
                  <a:lnTo>
                    <a:pt x="196" y="74"/>
                  </a:lnTo>
                  <a:lnTo>
                    <a:pt x="211" y="63"/>
                  </a:lnTo>
                  <a:lnTo>
                    <a:pt x="229" y="56"/>
                  </a:lnTo>
                  <a:lnTo>
                    <a:pt x="251" y="53"/>
                  </a:lnTo>
                  <a:lnTo>
                    <a:pt x="255" y="53"/>
                  </a:lnTo>
                  <a:lnTo>
                    <a:pt x="264" y="53"/>
                  </a:lnTo>
                  <a:lnTo>
                    <a:pt x="279" y="53"/>
                  </a:lnTo>
                  <a:lnTo>
                    <a:pt x="299" y="53"/>
                  </a:lnTo>
                  <a:lnTo>
                    <a:pt x="322" y="53"/>
                  </a:lnTo>
                  <a:lnTo>
                    <a:pt x="348" y="53"/>
                  </a:lnTo>
                  <a:lnTo>
                    <a:pt x="376" y="53"/>
                  </a:lnTo>
                  <a:lnTo>
                    <a:pt x="404" y="53"/>
                  </a:lnTo>
                  <a:lnTo>
                    <a:pt x="433" y="53"/>
                  </a:lnTo>
                  <a:lnTo>
                    <a:pt x="461" y="53"/>
                  </a:lnTo>
                  <a:lnTo>
                    <a:pt x="486" y="53"/>
                  </a:lnTo>
                  <a:lnTo>
                    <a:pt x="509" y="53"/>
                  </a:lnTo>
                  <a:lnTo>
                    <a:pt x="529" y="53"/>
                  </a:lnTo>
                  <a:lnTo>
                    <a:pt x="544" y="53"/>
                  </a:lnTo>
                  <a:lnTo>
                    <a:pt x="554" y="53"/>
                  </a:lnTo>
                  <a:lnTo>
                    <a:pt x="558" y="53"/>
                  </a:lnTo>
                  <a:lnTo>
                    <a:pt x="576" y="55"/>
                  </a:lnTo>
                  <a:lnTo>
                    <a:pt x="594" y="61"/>
                  </a:lnTo>
                  <a:lnTo>
                    <a:pt x="610" y="72"/>
                  </a:lnTo>
                  <a:lnTo>
                    <a:pt x="624" y="84"/>
                  </a:lnTo>
                  <a:lnTo>
                    <a:pt x="640" y="46"/>
                  </a:lnTo>
                  <a:lnTo>
                    <a:pt x="649" y="31"/>
                  </a:lnTo>
                  <a:lnTo>
                    <a:pt x="661" y="18"/>
                  </a:lnTo>
                  <a:lnTo>
                    <a:pt x="676" y="9"/>
                  </a:lnTo>
                  <a:lnTo>
                    <a:pt x="692" y="3"/>
                  </a:lnTo>
                  <a:lnTo>
                    <a:pt x="7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13"/>
            <p:cNvSpPr>
              <a:spLocks/>
            </p:cNvSpPr>
            <p:nvPr/>
          </p:nvSpPr>
          <p:spPr bwMode="auto">
            <a:xfrm>
              <a:off x="3976" y="1537"/>
              <a:ext cx="387" cy="387"/>
            </a:xfrm>
            <a:custGeom>
              <a:avLst/>
              <a:gdLst>
                <a:gd name="T0" fmla="*/ 193 w 387"/>
                <a:gd name="T1" fmla="*/ 0 h 387"/>
                <a:gd name="T2" fmla="*/ 228 w 387"/>
                <a:gd name="T3" fmla="*/ 3 h 387"/>
                <a:gd name="T4" fmla="*/ 261 w 387"/>
                <a:gd name="T5" fmla="*/ 12 h 387"/>
                <a:gd name="T6" fmla="*/ 291 w 387"/>
                <a:gd name="T7" fmla="*/ 26 h 387"/>
                <a:gd name="T8" fmla="*/ 317 w 387"/>
                <a:gd name="T9" fmla="*/ 45 h 387"/>
                <a:gd name="T10" fmla="*/ 342 w 387"/>
                <a:gd name="T11" fmla="*/ 68 h 387"/>
                <a:gd name="T12" fmla="*/ 360 w 387"/>
                <a:gd name="T13" fmla="*/ 96 h 387"/>
                <a:gd name="T14" fmla="*/ 375 w 387"/>
                <a:gd name="T15" fmla="*/ 125 h 387"/>
                <a:gd name="T16" fmla="*/ 384 w 387"/>
                <a:gd name="T17" fmla="*/ 158 h 387"/>
                <a:gd name="T18" fmla="*/ 387 w 387"/>
                <a:gd name="T19" fmla="*/ 193 h 387"/>
                <a:gd name="T20" fmla="*/ 384 w 387"/>
                <a:gd name="T21" fmla="*/ 228 h 387"/>
                <a:gd name="T22" fmla="*/ 375 w 387"/>
                <a:gd name="T23" fmla="*/ 260 h 387"/>
                <a:gd name="T24" fmla="*/ 360 w 387"/>
                <a:gd name="T25" fmla="*/ 291 h 387"/>
                <a:gd name="T26" fmla="*/ 342 w 387"/>
                <a:gd name="T27" fmla="*/ 317 h 387"/>
                <a:gd name="T28" fmla="*/ 317 w 387"/>
                <a:gd name="T29" fmla="*/ 340 h 387"/>
                <a:gd name="T30" fmla="*/ 291 w 387"/>
                <a:gd name="T31" fmla="*/ 359 h 387"/>
                <a:gd name="T32" fmla="*/ 261 w 387"/>
                <a:gd name="T33" fmla="*/ 374 h 387"/>
                <a:gd name="T34" fmla="*/ 228 w 387"/>
                <a:gd name="T35" fmla="*/ 383 h 387"/>
                <a:gd name="T36" fmla="*/ 193 w 387"/>
                <a:gd name="T37" fmla="*/ 387 h 387"/>
                <a:gd name="T38" fmla="*/ 159 w 387"/>
                <a:gd name="T39" fmla="*/ 383 h 387"/>
                <a:gd name="T40" fmla="*/ 126 w 387"/>
                <a:gd name="T41" fmla="*/ 374 h 387"/>
                <a:gd name="T42" fmla="*/ 96 w 387"/>
                <a:gd name="T43" fmla="*/ 359 h 387"/>
                <a:gd name="T44" fmla="*/ 69 w 387"/>
                <a:gd name="T45" fmla="*/ 340 h 387"/>
                <a:gd name="T46" fmla="*/ 45 w 387"/>
                <a:gd name="T47" fmla="*/ 317 h 387"/>
                <a:gd name="T48" fmla="*/ 26 w 387"/>
                <a:gd name="T49" fmla="*/ 291 h 387"/>
                <a:gd name="T50" fmla="*/ 12 w 387"/>
                <a:gd name="T51" fmla="*/ 260 h 387"/>
                <a:gd name="T52" fmla="*/ 3 w 387"/>
                <a:gd name="T53" fmla="*/ 228 h 387"/>
                <a:gd name="T54" fmla="*/ 0 w 387"/>
                <a:gd name="T55" fmla="*/ 193 h 387"/>
                <a:gd name="T56" fmla="*/ 3 w 387"/>
                <a:gd name="T57" fmla="*/ 158 h 387"/>
                <a:gd name="T58" fmla="*/ 12 w 387"/>
                <a:gd name="T59" fmla="*/ 125 h 387"/>
                <a:gd name="T60" fmla="*/ 26 w 387"/>
                <a:gd name="T61" fmla="*/ 96 h 387"/>
                <a:gd name="T62" fmla="*/ 45 w 387"/>
                <a:gd name="T63" fmla="*/ 68 h 387"/>
                <a:gd name="T64" fmla="*/ 69 w 387"/>
                <a:gd name="T65" fmla="*/ 45 h 387"/>
                <a:gd name="T66" fmla="*/ 96 w 387"/>
                <a:gd name="T67" fmla="*/ 26 h 387"/>
                <a:gd name="T68" fmla="*/ 126 w 387"/>
                <a:gd name="T69" fmla="*/ 12 h 387"/>
                <a:gd name="T70" fmla="*/ 159 w 387"/>
                <a:gd name="T71" fmla="*/ 3 h 387"/>
                <a:gd name="T72" fmla="*/ 193 w 387"/>
                <a:gd name="T73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7" h="387">
                  <a:moveTo>
                    <a:pt x="193" y="0"/>
                  </a:moveTo>
                  <a:lnTo>
                    <a:pt x="228" y="3"/>
                  </a:lnTo>
                  <a:lnTo>
                    <a:pt x="261" y="12"/>
                  </a:lnTo>
                  <a:lnTo>
                    <a:pt x="291" y="26"/>
                  </a:lnTo>
                  <a:lnTo>
                    <a:pt x="317" y="45"/>
                  </a:lnTo>
                  <a:lnTo>
                    <a:pt x="342" y="68"/>
                  </a:lnTo>
                  <a:lnTo>
                    <a:pt x="360" y="96"/>
                  </a:lnTo>
                  <a:lnTo>
                    <a:pt x="375" y="125"/>
                  </a:lnTo>
                  <a:lnTo>
                    <a:pt x="384" y="158"/>
                  </a:lnTo>
                  <a:lnTo>
                    <a:pt x="387" y="193"/>
                  </a:lnTo>
                  <a:lnTo>
                    <a:pt x="384" y="228"/>
                  </a:lnTo>
                  <a:lnTo>
                    <a:pt x="375" y="260"/>
                  </a:lnTo>
                  <a:lnTo>
                    <a:pt x="360" y="291"/>
                  </a:lnTo>
                  <a:lnTo>
                    <a:pt x="342" y="317"/>
                  </a:lnTo>
                  <a:lnTo>
                    <a:pt x="317" y="340"/>
                  </a:lnTo>
                  <a:lnTo>
                    <a:pt x="291" y="359"/>
                  </a:lnTo>
                  <a:lnTo>
                    <a:pt x="261" y="374"/>
                  </a:lnTo>
                  <a:lnTo>
                    <a:pt x="228" y="383"/>
                  </a:lnTo>
                  <a:lnTo>
                    <a:pt x="193" y="387"/>
                  </a:lnTo>
                  <a:lnTo>
                    <a:pt x="159" y="383"/>
                  </a:lnTo>
                  <a:lnTo>
                    <a:pt x="126" y="374"/>
                  </a:lnTo>
                  <a:lnTo>
                    <a:pt x="96" y="359"/>
                  </a:lnTo>
                  <a:lnTo>
                    <a:pt x="69" y="340"/>
                  </a:lnTo>
                  <a:lnTo>
                    <a:pt x="45" y="317"/>
                  </a:lnTo>
                  <a:lnTo>
                    <a:pt x="26" y="291"/>
                  </a:lnTo>
                  <a:lnTo>
                    <a:pt x="12" y="260"/>
                  </a:lnTo>
                  <a:lnTo>
                    <a:pt x="3" y="228"/>
                  </a:lnTo>
                  <a:lnTo>
                    <a:pt x="0" y="193"/>
                  </a:lnTo>
                  <a:lnTo>
                    <a:pt x="3" y="158"/>
                  </a:lnTo>
                  <a:lnTo>
                    <a:pt x="12" y="125"/>
                  </a:lnTo>
                  <a:lnTo>
                    <a:pt x="26" y="96"/>
                  </a:lnTo>
                  <a:lnTo>
                    <a:pt x="45" y="68"/>
                  </a:lnTo>
                  <a:lnTo>
                    <a:pt x="69" y="45"/>
                  </a:lnTo>
                  <a:lnTo>
                    <a:pt x="96" y="26"/>
                  </a:lnTo>
                  <a:lnTo>
                    <a:pt x="126" y="12"/>
                  </a:lnTo>
                  <a:lnTo>
                    <a:pt x="159" y="3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1" name="TextBox 11"/>
          <p:cNvSpPr txBox="1">
            <a:spLocks noChangeArrowheads="1"/>
          </p:cNvSpPr>
          <p:nvPr/>
        </p:nvSpPr>
        <p:spPr bwMode="auto">
          <a:xfrm>
            <a:off x="4674212" y="3501010"/>
            <a:ext cx="1529801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600" b="1">
                <a:ln>
                  <a:solidFill>
                    <a:srgbClr val="255286"/>
                  </a:solidFill>
                </a:ln>
                <a:solidFill>
                  <a:srgbClr val="255286"/>
                </a:solidFill>
                <a:latin typeface="Calibri Light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uk-UA" sz="2000" dirty="0"/>
              <a:t>КІЛЬКІСТЬ НАСЕЛЕННЯ ОТГ</a:t>
            </a:r>
            <a:endParaRPr lang="en-US" sz="2000" dirty="0"/>
          </a:p>
        </p:txBody>
      </p:sp>
      <p:grpSp>
        <p:nvGrpSpPr>
          <p:cNvPr id="92" name="Group 12"/>
          <p:cNvGrpSpPr>
            <a:grpSpLocks noChangeAspect="1"/>
          </p:cNvGrpSpPr>
          <p:nvPr/>
        </p:nvGrpSpPr>
        <p:grpSpPr bwMode="auto">
          <a:xfrm>
            <a:off x="7190560" y="2139311"/>
            <a:ext cx="1013231" cy="1178605"/>
            <a:chOff x="1743" y="1165"/>
            <a:chExt cx="2273" cy="1983"/>
          </a:xfrm>
          <a:solidFill>
            <a:srgbClr val="C43D59"/>
          </a:solidFill>
        </p:grpSpPr>
        <p:sp>
          <p:nvSpPr>
            <p:cNvPr id="93" name="Freeform 14"/>
            <p:cNvSpPr>
              <a:spLocks/>
            </p:cNvSpPr>
            <p:nvPr/>
          </p:nvSpPr>
          <p:spPr bwMode="auto">
            <a:xfrm>
              <a:off x="3259" y="1447"/>
              <a:ext cx="311" cy="637"/>
            </a:xfrm>
            <a:custGeom>
              <a:avLst/>
              <a:gdLst>
                <a:gd name="T0" fmla="*/ 358 w 623"/>
                <a:gd name="T1" fmla="*/ 4 h 1274"/>
                <a:gd name="T2" fmla="*/ 389 w 623"/>
                <a:gd name="T3" fmla="*/ 50 h 1274"/>
                <a:gd name="T4" fmla="*/ 391 w 623"/>
                <a:gd name="T5" fmla="*/ 146 h 1274"/>
                <a:gd name="T6" fmla="*/ 396 w 623"/>
                <a:gd name="T7" fmla="*/ 150 h 1274"/>
                <a:gd name="T8" fmla="*/ 412 w 623"/>
                <a:gd name="T9" fmla="*/ 153 h 1274"/>
                <a:gd name="T10" fmla="*/ 471 w 623"/>
                <a:gd name="T11" fmla="*/ 165 h 1274"/>
                <a:gd name="T12" fmla="*/ 542 w 623"/>
                <a:gd name="T13" fmla="*/ 185 h 1274"/>
                <a:gd name="T14" fmla="*/ 582 w 623"/>
                <a:gd name="T15" fmla="*/ 212 h 1274"/>
                <a:gd name="T16" fmla="*/ 558 w 623"/>
                <a:gd name="T17" fmla="*/ 306 h 1274"/>
                <a:gd name="T18" fmla="*/ 528 w 623"/>
                <a:gd name="T19" fmla="*/ 335 h 1274"/>
                <a:gd name="T20" fmla="*/ 491 w 623"/>
                <a:gd name="T21" fmla="*/ 331 h 1274"/>
                <a:gd name="T22" fmla="*/ 463 w 623"/>
                <a:gd name="T23" fmla="*/ 319 h 1274"/>
                <a:gd name="T24" fmla="*/ 394 w 623"/>
                <a:gd name="T25" fmla="*/ 300 h 1274"/>
                <a:gd name="T26" fmla="*/ 299 w 623"/>
                <a:gd name="T27" fmla="*/ 296 h 1274"/>
                <a:gd name="T28" fmla="*/ 232 w 623"/>
                <a:gd name="T29" fmla="*/ 322 h 1274"/>
                <a:gd name="T30" fmla="*/ 200 w 623"/>
                <a:gd name="T31" fmla="*/ 365 h 1274"/>
                <a:gd name="T32" fmla="*/ 196 w 623"/>
                <a:gd name="T33" fmla="*/ 416 h 1274"/>
                <a:gd name="T34" fmla="*/ 222 w 623"/>
                <a:gd name="T35" fmla="*/ 465 h 1274"/>
                <a:gd name="T36" fmla="*/ 292 w 623"/>
                <a:gd name="T37" fmla="*/ 511 h 1274"/>
                <a:gd name="T38" fmla="*/ 424 w 623"/>
                <a:gd name="T39" fmla="*/ 569 h 1274"/>
                <a:gd name="T40" fmla="*/ 549 w 623"/>
                <a:gd name="T41" fmla="*/ 651 h 1274"/>
                <a:gd name="T42" fmla="*/ 612 w 623"/>
                <a:gd name="T43" fmla="*/ 756 h 1274"/>
                <a:gd name="T44" fmla="*/ 620 w 623"/>
                <a:gd name="T45" fmla="*/ 884 h 1274"/>
                <a:gd name="T46" fmla="*/ 573 w 623"/>
                <a:gd name="T47" fmla="*/ 998 h 1274"/>
                <a:gd name="T48" fmla="*/ 477 w 623"/>
                <a:gd name="T49" fmla="*/ 1081 h 1274"/>
                <a:gd name="T50" fmla="*/ 387 w 623"/>
                <a:gd name="T51" fmla="*/ 1113 h 1274"/>
                <a:gd name="T52" fmla="*/ 382 w 623"/>
                <a:gd name="T53" fmla="*/ 1117 h 1274"/>
                <a:gd name="T54" fmla="*/ 380 w 623"/>
                <a:gd name="T55" fmla="*/ 1224 h 1274"/>
                <a:gd name="T56" fmla="*/ 349 w 623"/>
                <a:gd name="T57" fmla="*/ 1271 h 1274"/>
                <a:gd name="T58" fmla="*/ 263 w 623"/>
                <a:gd name="T59" fmla="*/ 1271 h 1274"/>
                <a:gd name="T60" fmla="*/ 232 w 623"/>
                <a:gd name="T61" fmla="*/ 1224 h 1274"/>
                <a:gd name="T62" fmla="*/ 230 w 623"/>
                <a:gd name="T63" fmla="*/ 1122 h 1274"/>
                <a:gd name="T64" fmla="*/ 223 w 623"/>
                <a:gd name="T65" fmla="*/ 1118 h 1274"/>
                <a:gd name="T66" fmla="*/ 203 w 623"/>
                <a:gd name="T67" fmla="*/ 1115 h 1274"/>
                <a:gd name="T68" fmla="*/ 131 w 623"/>
                <a:gd name="T69" fmla="*/ 1100 h 1274"/>
                <a:gd name="T70" fmla="*/ 47 w 623"/>
                <a:gd name="T71" fmla="*/ 1074 h 1274"/>
                <a:gd name="T72" fmla="*/ 3 w 623"/>
                <a:gd name="T73" fmla="*/ 1042 h 1274"/>
                <a:gd name="T74" fmla="*/ 26 w 623"/>
                <a:gd name="T75" fmla="*/ 947 h 1274"/>
                <a:gd name="T76" fmla="*/ 57 w 623"/>
                <a:gd name="T77" fmla="*/ 919 h 1274"/>
                <a:gd name="T78" fmla="*/ 85 w 623"/>
                <a:gd name="T79" fmla="*/ 919 h 1274"/>
                <a:gd name="T80" fmla="*/ 105 w 623"/>
                <a:gd name="T81" fmla="*/ 927 h 1274"/>
                <a:gd name="T82" fmla="*/ 157 w 623"/>
                <a:gd name="T83" fmla="*/ 946 h 1274"/>
                <a:gd name="T84" fmla="*/ 230 w 623"/>
                <a:gd name="T85" fmla="*/ 967 h 1274"/>
                <a:gd name="T86" fmla="*/ 318 w 623"/>
                <a:gd name="T87" fmla="*/ 969 h 1274"/>
                <a:gd name="T88" fmla="*/ 405 w 623"/>
                <a:gd name="T89" fmla="*/ 928 h 1274"/>
                <a:gd name="T90" fmla="*/ 438 w 623"/>
                <a:gd name="T91" fmla="*/ 851 h 1274"/>
                <a:gd name="T92" fmla="*/ 411 w 623"/>
                <a:gd name="T93" fmla="*/ 777 h 1274"/>
                <a:gd name="T94" fmla="*/ 324 w 623"/>
                <a:gd name="T95" fmla="*/ 716 h 1274"/>
                <a:gd name="T96" fmla="*/ 205 w 623"/>
                <a:gd name="T97" fmla="*/ 665 h 1274"/>
                <a:gd name="T98" fmla="*/ 106 w 623"/>
                <a:gd name="T99" fmla="*/ 607 h 1274"/>
                <a:gd name="T100" fmla="*/ 36 w 623"/>
                <a:gd name="T101" fmla="*/ 526 h 1274"/>
                <a:gd name="T102" fmla="*/ 10 w 623"/>
                <a:gd name="T103" fmla="*/ 416 h 1274"/>
                <a:gd name="T104" fmla="*/ 37 w 623"/>
                <a:gd name="T105" fmla="*/ 300 h 1274"/>
                <a:gd name="T106" fmla="*/ 113 w 623"/>
                <a:gd name="T107" fmla="*/ 211 h 1274"/>
                <a:gd name="T108" fmla="*/ 232 w 623"/>
                <a:gd name="T109" fmla="*/ 157 h 1274"/>
                <a:gd name="T110" fmla="*/ 238 w 623"/>
                <a:gd name="T111" fmla="*/ 154 h 1274"/>
                <a:gd name="T112" fmla="*/ 243 w 623"/>
                <a:gd name="T113" fmla="*/ 146 h 1274"/>
                <a:gd name="T114" fmla="*/ 258 w 623"/>
                <a:gd name="T115" fmla="*/ 14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3" h="1274">
                  <a:moveTo>
                    <a:pt x="294" y="0"/>
                  </a:moveTo>
                  <a:lnTo>
                    <a:pt x="338" y="0"/>
                  </a:lnTo>
                  <a:lnTo>
                    <a:pt x="358" y="4"/>
                  </a:lnTo>
                  <a:lnTo>
                    <a:pt x="375" y="14"/>
                  </a:lnTo>
                  <a:lnTo>
                    <a:pt x="386" y="30"/>
                  </a:lnTo>
                  <a:lnTo>
                    <a:pt x="389" y="50"/>
                  </a:lnTo>
                  <a:lnTo>
                    <a:pt x="390" y="140"/>
                  </a:lnTo>
                  <a:lnTo>
                    <a:pt x="390" y="145"/>
                  </a:lnTo>
                  <a:lnTo>
                    <a:pt x="391" y="146"/>
                  </a:lnTo>
                  <a:lnTo>
                    <a:pt x="393" y="147"/>
                  </a:lnTo>
                  <a:lnTo>
                    <a:pt x="394" y="149"/>
                  </a:lnTo>
                  <a:lnTo>
                    <a:pt x="396" y="150"/>
                  </a:lnTo>
                  <a:lnTo>
                    <a:pt x="397" y="150"/>
                  </a:lnTo>
                  <a:lnTo>
                    <a:pt x="401" y="150"/>
                  </a:lnTo>
                  <a:lnTo>
                    <a:pt x="412" y="153"/>
                  </a:lnTo>
                  <a:lnTo>
                    <a:pt x="429" y="156"/>
                  </a:lnTo>
                  <a:lnTo>
                    <a:pt x="448" y="160"/>
                  </a:lnTo>
                  <a:lnTo>
                    <a:pt x="471" y="165"/>
                  </a:lnTo>
                  <a:lnTo>
                    <a:pt x="495" y="171"/>
                  </a:lnTo>
                  <a:lnTo>
                    <a:pt x="520" y="178"/>
                  </a:lnTo>
                  <a:lnTo>
                    <a:pt x="542" y="185"/>
                  </a:lnTo>
                  <a:lnTo>
                    <a:pt x="562" y="193"/>
                  </a:lnTo>
                  <a:lnTo>
                    <a:pt x="573" y="200"/>
                  </a:lnTo>
                  <a:lnTo>
                    <a:pt x="582" y="212"/>
                  </a:lnTo>
                  <a:lnTo>
                    <a:pt x="586" y="226"/>
                  </a:lnTo>
                  <a:lnTo>
                    <a:pt x="583" y="242"/>
                  </a:lnTo>
                  <a:lnTo>
                    <a:pt x="558" y="306"/>
                  </a:lnTo>
                  <a:lnTo>
                    <a:pt x="551" y="318"/>
                  </a:lnTo>
                  <a:lnTo>
                    <a:pt x="540" y="328"/>
                  </a:lnTo>
                  <a:lnTo>
                    <a:pt x="528" y="335"/>
                  </a:lnTo>
                  <a:lnTo>
                    <a:pt x="514" y="336"/>
                  </a:lnTo>
                  <a:lnTo>
                    <a:pt x="502" y="335"/>
                  </a:lnTo>
                  <a:lnTo>
                    <a:pt x="491" y="331"/>
                  </a:lnTo>
                  <a:lnTo>
                    <a:pt x="488" y="329"/>
                  </a:lnTo>
                  <a:lnTo>
                    <a:pt x="478" y="325"/>
                  </a:lnTo>
                  <a:lnTo>
                    <a:pt x="463" y="319"/>
                  </a:lnTo>
                  <a:lnTo>
                    <a:pt x="444" y="313"/>
                  </a:lnTo>
                  <a:lnTo>
                    <a:pt x="420" y="306"/>
                  </a:lnTo>
                  <a:lnTo>
                    <a:pt x="394" y="300"/>
                  </a:lnTo>
                  <a:lnTo>
                    <a:pt x="364" y="296"/>
                  </a:lnTo>
                  <a:lnTo>
                    <a:pt x="331" y="295"/>
                  </a:lnTo>
                  <a:lnTo>
                    <a:pt x="299" y="296"/>
                  </a:lnTo>
                  <a:lnTo>
                    <a:pt x="273" y="302"/>
                  </a:lnTo>
                  <a:lnTo>
                    <a:pt x="251" y="311"/>
                  </a:lnTo>
                  <a:lnTo>
                    <a:pt x="232" y="322"/>
                  </a:lnTo>
                  <a:lnTo>
                    <a:pt x="218" y="335"/>
                  </a:lnTo>
                  <a:lnTo>
                    <a:pt x="207" y="350"/>
                  </a:lnTo>
                  <a:lnTo>
                    <a:pt x="200" y="365"/>
                  </a:lnTo>
                  <a:lnTo>
                    <a:pt x="194" y="381"/>
                  </a:lnTo>
                  <a:lnTo>
                    <a:pt x="193" y="398"/>
                  </a:lnTo>
                  <a:lnTo>
                    <a:pt x="196" y="416"/>
                  </a:lnTo>
                  <a:lnTo>
                    <a:pt x="200" y="434"/>
                  </a:lnTo>
                  <a:lnTo>
                    <a:pt x="208" y="450"/>
                  </a:lnTo>
                  <a:lnTo>
                    <a:pt x="222" y="465"/>
                  </a:lnTo>
                  <a:lnTo>
                    <a:pt x="240" y="481"/>
                  </a:lnTo>
                  <a:lnTo>
                    <a:pt x="263" y="496"/>
                  </a:lnTo>
                  <a:lnTo>
                    <a:pt x="292" y="511"/>
                  </a:lnTo>
                  <a:lnTo>
                    <a:pt x="327" y="527"/>
                  </a:lnTo>
                  <a:lnTo>
                    <a:pt x="369" y="544"/>
                  </a:lnTo>
                  <a:lnTo>
                    <a:pt x="424" y="569"/>
                  </a:lnTo>
                  <a:lnTo>
                    <a:pt x="473" y="595"/>
                  </a:lnTo>
                  <a:lnTo>
                    <a:pt x="514" y="622"/>
                  </a:lnTo>
                  <a:lnTo>
                    <a:pt x="549" y="651"/>
                  </a:lnTo>
                  <a:lnTo>
                    <a:pt x="576" y="684"/>
                  </a:lnTo>
                  <a:lnTo>
                    <a:pt x="597" y="719"/>
                  </a:lnTo>
                  <a:lnTo>
                    <a:pt x="612" y="756"/>
                  </a:lnTo>
                  <a:lnTo>
                    <a:pt x="620" y="796"/>
                  </a:lnTo>
                  <a:lnTo>
                    <a:pt x="623" y="840"/>
                  </a:lnTo>
                  <a:lnTo>
                    <a:pt x="620" y="884"/>
                  </a:lnTo>
                  <a:lnTo>
                    <a:pt x="611" y="925"/>
                  </a:lnTo>
                  <a:lnTo>
                    <a:pt x="595" y="963"/>
                  </a:lnTo>
                  <a:lnTo>
                    <a:pt x="573" y="998"/>
                  </a:lnTo>
                  <a:lnTo>
                    <a:pt x="546" y="1030"/>
                  </a:lnTo>
                  <a:lnTo>
                    <a:pt x="514" y="1058"/>
                  </a:lnTo>
                  <a:lnTo>
                    <a:pt x="477" y="1081"/>
                  </a:lnTo>
                  <a:lnTo>
                    <a:pt x="434" y="1099"/>
                  </a:lnTo>
                  <a:lnTo>
                    <a:pt x="389" y="1113"/>
                  </a:lnTo>
                  <a:lnTo>
                    <a:pt x="387" y="1113"/>
                  </a:lnTo>
                  <a:lnTo>
                    <a:pt x="386" y="1114"/>
                  </a:lnTo>
                  <a:lnTo>
                    <a:pt x="383" y="1115"/>
                  </a:lnTo>
                  <a:lnTo>
                    <a:pt x="382" y="1117"/>
                  </a:lnTo>
                  <a:lnTo>
                    <a:pt x="380" y="1120"/>
                  </a:lnTo>
                  <a:lnTo>
                    <a:pt x="380" y="1124"/>
                  </a:lnTo>
                  <a:lnTo>
                    <a:pt x="380" y="1224"/>
                  </a:lnTo>
                  <a:lnTo>
                    <a:pt x="376" y="1244"/>
                  </a:lnTo>
                  <a:lnTo>
                    <a:pt x="365" y="1260"/>
                  </a:lnTo>
                  <a:lnTo>
                    <a:pt x="349" y="1271"/>
                  </a:lnTo>
                  <a:lnTo>
                    <a:pt x="329" y="1274"/>
                  </a:lnTo>
                  <a:lnTo>
                    <a:pt x="283" y="1274"/>
                  </a:lnTo>
                  <a:lnTo>
                    <a:pt x="263" y="1271"/>
                  </a:lnTo>
                  <a:lnTo>
                    <a:pt x="247" y="1260"/>
                  </a:lnTo>
                  <a:lnTo>
                    <a:pt x="236" y="1244"/>
                  </a:lnTo>
                  <a:lnTo>
                    <a:pt x="232" y="1224"/>
                  </a:lnTo>
                  <a:lnTo>
                    <a:pt x="232" y="1129"/>
                  </a:lnTo>
                  <a:lnTo>
                    <a:pt x="232" y="1125"/>
                  </a:lnTo>
                  <a:lnTo>
                    <a:pt x="230" y="1122"/>
                  </a:lnTo>
                  <a:lnTo>
                    <a:pt x="227" y="1121"/>
                  </a:lnTo>
                  <a:lnTo>
                    <a:pt x="226" y="1120"/>
                  </a:lnTo>
                  <a:lnTo>
                    <a:pt x="223" y="1118"/>
                  </a:lnTo>
                  <a:lnTo>
                    <a:pt x="222" y="1118"/>
                  </a:lnTo>
                  <a:lnTo>
                    <a:pt x="216" y="1118"/>
                  </a:lnTo>
                  <a:lnTo>
                    <a:pt x="203" y="1115"/>
                  </a:lnTo>
                  <a:lnTo>
                    <a:pt x="183" y="1111"/>
                  </a:lnTo>
                  <a:lnTo>
                    <a:pt x="158" y="1106"/>
                  </a:lnTo>
                  <a:lnTo>
                    <a:pt x="131" y="1100"/>
                  </a:lnTo>
                  <a:lnTo>
                    <a:pt x="103" y="1092"/>
                  </a:lnTo>
                  <a:lnTo>
                    <a:pt x="74" y="1084"/>
                  </a:lnTo>
                  <a:lnTo>
                    <a:pt x="47" y="1074"/>
                  </a:lnTo>
                  <a:lnTo>
                    <a:pt x="23" y="1063"/>
                  </a:lnTo>
                  <a:lnTo>
                    <a:pt x="12" y="1055"/>
                  </a:lnTo>
                  <a:lnTo>
                    <a:pt x="3" y="1042"/>
                  </a:lnTo>
                  <a:lnTo>
                    <a:pt x="0" y="1029"/>
                  </a:lnTo>
                  <a:lnTo>
                    <a:pt x="3" y="1012"/>
                  </a:lnTo>
                  <a:lnTo>
                    <a:pt x="26" y="947"/>
                  </a:lnTo>
                  <a:lnTo>
                    <a:pt x="33" y="935"/>
                  </a:lnTo>
                  <a:lnTo>
                    <a:pt x="44" y="925"/>
                  </a:lnTo>
                  <a:lnTo>
                    <a:pt x="57" y="919"/>
                  </a:lnTo>
                  <a:lnTo>
                    <a:pt x="72" y="916"/>
                  </a:lnTo>
                  <a:lnTo>
                    <a:pt x="79" y="917"/>
                  </a:lnTo>
                  <a:lnTo>
                    <a:pt x="85" y="919"/>
                  </a:lnTo>
                  <a:lnTo>
                    <a:pt x="92" y="921"/>
                  </a:lnTo>
                  <a:lnTo>
                    <a:pt x="96" y="923"/>
                  </a:lnTo>
                  <a:lnTo>
                    <a:pt x="105" y="927"/>
                  </a:lnTo>
                  <a:lnTo>
                    <a:pt x="119" y="932"/>
                  </a:lnTo>
                  <a:lnTo>
                    <a:pt x="136" y="939"/>
                  </a:lnTo>
                  <a:lnTo>
                    <a:pt x="157" y="946"/>
                  </a:lnTo>
                  <a:lnTo>
                    <a:pt x="181" y="954"/>
                  </a:lnTo>
                  <a:lnTo>
                    <a:pt x="205" y="961"/>
                  </a:lnTo>
                  <a:lnTo>
                    <a:pt x="230" y="967"/>
                  </a:lnTo>
                  <a:lnTo>
                    <a:pt x="256" y="971"/>
                  </a:lnTo>
                  <a:lnTo>
                    <a:pt x="280" y="972"/>
                  </a:lnTo>
                  <a:lnTo>
                    <a:pt x="318" y="969"/>
                  </a:lnTo>
                  <a:lnTo>
                    <a:pt x="353" y="960"/>
                  </a:lnTo>
                  <a:lnTo>
                    <a:pt x="382" y="946"/>
                  </a:lnTo>
                  <a:lnTo>
                    <a:pt x="405" y="928"/>
                  </a:lnTo>
                  <a:lnTo>
                    <a:pt x="423" y="906"/>
                  </a:lnTo>
                  <a:lnTo>
                    <a:pt x="434" y="880"/>
                  </a:lnTo>
                  <a:lnTo>
                    <a:pt x="438" y="851"/>
                  </a:lnTo>
                  <a:lnTo>
                    <a:pt x="436" y="824"/>
                  </a:lnTo>
                  <a:lnTo>
                    <a:pt x="426" y="800"/>
                  </a:lnTo>
                  <a:lnTo>
                    <a:pt x="411" y="777"/>
                  </a:lnTo>
                  <a:lnTo>
                    <a:pt x="390" y="756"/>
                  </a:lnTo>
                  <a:lnTo>
                    <a:pt x="361" y="735"/>
                  </a:lnTo>
                  <a:lnTo>
                    <a:pt x="324" y="716"/>
                  </a:lnTo>
                  <a:lnTo>
                    <a:pt x="280" y="697"/>
                  </a:lnTo>
                  <a:lnTo>
                    <a:pt x="243" y="682"/>
                  </a:lnTo>
                  <a:lnTo>
                    <a:pt x="205" y="665"/>
                  </a:lnTo>
                  <a:lnTo>
                    <a:pt x="170" y="647"/>
                  </a:lnTo>
                  <a:lnTo>
                    <a:pt x="136" y="628"/>
                  </a:lnTo>
                  <a:lnTo>
                    <a:pt x="106" y="607"/>
                  </a:lnTo>
                  <a:lnTo>
                    <a:pt x="79" y="583"/>
                  </a:lnTo>
                  <a:lnTo>
                    <a:pt x="55" y="556"/>
                  </a:lnTo>
                  <a:lnTo>
                    <a:pt x="36" y="526"/>
                  </a:lnTo>
                  <a:lnTo>
                    <a:pt x="22" y="493"/>
                  </a:lnTo>
                  <a:lnTo>
                    <a:pt x="12" y="456"/>
                  </a:lnTo>
                  <a:lnTo>
                    <a:pt x="10" y="416"/>
                  </a:lnTo>
                  <a:lnTo>
                    <a:pt x="12" y="375"/>
                  </a:lnTo>
                  <a:lnTo>
                    <a:pt x="22" y="336"/>
                  </a:lnTo>
                  <a:lnTo>
                    <a:pt x="37" y="300"/>
                  </a:lnTo>
                  <a:lnTo>
                    <a:pt x="58" y="267"/>
                  </a:lnTo>
                  <a:lnTo>
                    <a:pt x="83" y="237"/>
                  </a:lnTo>
                  <a:lnTo>
                    <a:pt x="113" y="211"/>
                  </a:lnTo>
                  <a:lnTo>
                    <a:pt x="149" y="189"/>
                  </a:lnTo>
                  <a:lnTo>
                    <a:pt x="187" y="171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6" y="156"/>
                  </a:lnTo>
                  <a:lnTo>
                    <a:pt x="238" y="154"/>
                  </a:lnTo>
                  <a:lnTo>
                    <a:pt x="240" y="151"/>
                  </a:lnTo>
                  <a:lnTo>
                    <a:pt x="243" y="149"/>
                  </a:lnTo>
                  <a:lnTo>
                    <a:pt x="243" y="146"/>
                  </a:lnTo>
                  <a:lnTo>
                    <a:pt x="243" y="50"/>
                  </a:lnTo>
                  <a:lnTo>
                    <a:pt x="247" y="30"/>
                  </a:lnTo>
                  <a:lnTo>
                    <a:pt x="258" y="14"/>
                  </a:lnTo>
                  <a:lnTo>
                    <a:pt x="274" y="4"/>
                  </a:lnTo>
                  <a:lnTo>
                    <a:pt x="2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94" name="Freeform 15"/>
            <p:cNvSpPr>
              <a:spLocks noEditPoints="1"/>
            </p:cNvSpPr>
            <p:nvPr/>
          </p:nvSpPr>
          <p:spPr bwMode="auto">
            <a:xfrm>
              <a:off x="2814" y="1165"/>
              <a:ext cx="1202" cy="1201"/>
            </a:xfrm>
            <a:custGeom>
              <a:avLst/>
              <a:gdLst>
                <a:gd name="T0" fmla="*/ 1026 w 2403"/>
                <a:gd name="T1" fmla="*/ 296 h 2403"/>
                <a:gd name="T2" fmla="*/ 785 w 2403"/>
                <a:gd name="T3" fmla="*/ 379 h 2403"/>
                <a:gd name="T4" fmla="*/ 579 w 2403"/>
                <a:gd name="T5" fmla="*/ 521 h 2403"/>
                <a:gd name="T6" fmla="*/ 419 w 2403"/>
                <a:gd name="T7" fmla="*/ 712 h 2403"/>
                <a:gd name="T8" fmla="*/ 315 w 2403"/>
                <a:gd name="T9" fmla="*/ 942 h 2403"/>
                <a:gd name="T10" fmla="*/ 278 w 2403"/>
                <a:gd name="T11" fmla="*/ 1203 h 2403"/>
                <a:gd name="T12" fmla="*/ 315 w 2403"/>
                <a:gd name="T13" fmla="*/ 1461 h 2403"/>
                <a:gd name="T14" fmla="*/ 419 w 2403"/>
                <a:gd name="T15" fmla="*/ 1691 h 2403"/>
                <a:gd name="T16" fmla="*/ 579 w 2403"/>
                <a:gd name="T17" fmla="*/ 1883 h 2403"/>
                <a:gd name="T18" fmla="*/ 785 w 2403"/>
                <a:gd name="T19" fmla="*/ 2026 h 2403"/>
                <a:gd name="T20" fmla="*/ 1026 w 2403"/>
                <a:gd name="T21" fmla="*/ 2107 h 2403"/>
                <a:gd name="T22" fmla="*/ 1291 w 2403"/>
                <a:gd name="T23" fmla="*/ 2120 h 2403"/>
                <a:gd name="T24" fmla="*/ 1542 w 2403"/>
                <a:gd name="T25" fmla="*/ 2061 h 2403"/>
                <a:gd name="T26" fmla="*/ 1760 w 2403"/>
                <a:gd name="T27" fmla="*/ 1937 h 2403"/>
                <a:gd name="T28" fmla="*/ 1936 w 2403"/>
                <a:gd name="T29" fmla="*/ 1760 h 2403"/>
                <a:gd name="T30" fmla="*/ 2060 w 2403"/>
                <a:gd name="T31" fmla="*/ 1541 h 2403"/>
                <a:gd name="T32" fmla="*/ 2121 w 2403"/>
                <a:gd name="T33" fmla="*/ 1291 h 2403"/>
                <a:gd name="T34" fmla="*/ 2108 w 2403"/>
                <a:gd name="T35" fmla="*/ 1026 h 2403"/>
                <a:gd name="T36" fmla="*/ 2026 w 2403"/>
                <a:gd name="T37" fmla="*/ 785 h 2403"/>
                <a:gd name="T38" fmla="*/ 1884 w 2403"/>
                <a:gd name="T39" fmla="*/ 580 h 2403"/>
                <a:gd name="T40" fmla="*/ 1692 w 2403"/>
                <a:gd name="T41" fmla="*/ 420 h 2403"/>
                <a:gd name="T42" fmla="*/ 1461 w 2403"/>
                <a:gd name="T43" fmla="*/ 316 h 2403"/>
                <a:gd name="T44" fmla="*/ 1201 w 2403"/>
                <a:gd name="T45" fmla="*/ 280 h 2403"/>
                <a:gd name="T46" fmla="*/ 1396 w 2403"/>
                <a:gd name="T47" fmla="*/ 17 h 2403"/>
                <a:gd name="T48" fmla="*/ 1669 w 2403"/>
                <a:gd name="T49" fmla="*/ 95 h 2403"/>
                <a:gd name="T50" fmla="*/ 1911 w 2403"/>
                <a:gd name="T51" fmla="*/ 233 h 2403"/>
                <a:gd name="T52" fmla="*/ 2114 w 2403"/>
                <a:gd name="T53" fmla="*/ 420 h 2403"/>
                <a:gd name="T54" fmla="*/ 2270 w 2403"/>
                <a:gd name="T55" fmla="*/ 650 h 2403"/>
                <a:gd name="T56" fmla="*/ 2369 w 2403"/>
                <a:gd name="T57" fmla="*/ 913 h 2403"/>
                <a:gd name="T58" fmla="*/ 2403 w 2403"/>
                <a:gd name="T59" fmla="*/ 1203 h 2403"/>
                <a:gd name="T60" fmla="*/ 2369 w 2403"/>
                <a:gd name="T61" fmla="*/ 1490 h 2403"/>
                <a:gd name="T62" fmla="*/ 2270 w 2403"/>
                <a:gd name="T63" fmla="*/ 1753 h 2403"/>
                <a:gd name="T64" fmla="*/ 2114 w 2403"/>
                <a:gd name="T65" fmla="*/ 1983 h 2403"/>
                <a:gd name="T66" fmla="*/ 1911 w 2403"/>
                <a:gd name="T67" fmla="*/ 2171 h 2403"/>
                <a:gd name="T68" fmla="*/ 1669 w 2403"/>
                <a:gd name="T69" fmla="*/ 2308 h 2403"/>
                <a:gd name="T70" fmla="*/ 1396 w 2403"/>
                <a:gd name="T71" fmla="*/ 2387 h 2403"/>
                <a:gd name="T72" fmla="*/ 1102 w 2403"/>
                <a:gd name="T73" fmla="*/ 2399 h 2403"/>
                <a:gd name="T74" fmla="*/ 821 w 2403"/>
                <a:gd name="T75" fmla="*/ 2341 h 2403"/>
                <a:gd name="T76" fmla="*/ 569 w 2403"/>
                <a:gd name="T77" fmla="*/ 2223 h 2403"/>
                <a:gd name="T78" fmla="*/ 351 w 2403"/>
                <a:gd name="T79" fmla="*/ 2051 h 2403"/>
                <a:gd name="T80" fmla="*/ 180 w 2403"/>
                <a:gd name="T81" fmla="*/ 1835 h 2403"/>
                <a:gd name="T82" fmla="*/ 60 w 2403"/>
                <a:gd name="T83" fmla="*/ 1581 h 2403"/>
                <a:gd name="T84" fmla="*/ 4 w 2403"/>
                <a:gd name="T85" fmla="*/ 1300 h 2403"/>
                <a:gd name="T86" fmla="*/ 15 w 2403"/>
                <a:gd name="T87" fmla="*/ 1007 h 2403"/>
                <a:gd name="T88" fmla="*/ 93 w 2403"/>
                <a:gd name="T89" fmla="*/ 734 h 2403"/>
                <a:gd name="T90" fmla="*/ 231 w 2403"/>
                <a:gd name="T91" fmla="*/ 492 h 2403"/>
                <a:gd name="T92" fmla="*/ 419 w 2403"/>
                <a:gd name="T93" fmla="*/ 290 h 2403"/>
                <a:gd name="T94" fmla="*/ 649 w 2403"/>
                <a:gd name="T95" fmla="*/ 135 h 2403"/>
                <a:gd name="T96" fmla="*/ 912 w 2403"/>
                <a:gd name="T97" fmla="*/ 36 h 2403"/>
                <a:gd name="T98" fmla="*/ 1201 w 2403"/>
                <a:gd name="T99" fmla="*/ 0 h 2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03" h="2403">
                  <a:moveTo>
                    <a:pt x="1201" y="280"/>
                  </a:moveTo>
                  <a:lnTo>
                    <a:pt x="1112" y="284"/>
                  </a:lnTo>
                  <a:lnTo>
                    <a:pt x="1026" y="296"/>
                  </a:lnTo>
                  <a:lnTo>
                    <a:pt x="942" y="316"/>
                  </a:lnTo>
                  <a:lnTo>
                    <a:pt x="861" y="343"/>
                  </a:lnTo>
                  <a:lnTo>
                    <a:pt x="785" y="379"/>
                  </a:lnTo>
                  <a:lnTo>
                    <a:pt x="711" y="420"/>
                  </a:lnTo>
                  <a:lnTo>
                    <a:pt x="643" y="467"/>
                  </a:lnTo>
                  <a:lnTo>
                    <a:pt x="579" y="521"/>
                  </a:lnTo>
                  <a:lnTo>
                    <a:pt x="519" y="580"/>
                  </a:lnTo>
                  <a:lnTo>
                    <a:pt x="467" y="643"/>
                  </a:lnTo>
                  <a:lnTo>
                    <a:pt x="419" y="712"/>
                  </a:lnTo>
                  <a:lnTo>
                    <a:pt x="377" y="785"/>
                  </a:lnTo>
                  <a:lnTo>
                    <a:pt x="343" y="862"/>
                  </a:lnTo>
                  <a:lnTo>
                    <a:pt x="315" y="942"/>
                  </a:lnTo>
                  <a:lnTo>
                    <a:pt x="295" y="1026"/>
                  </a:lnTo>
                  <a:lnTo>
                    <a:pt x="282" y="1113"/>
                  </a:lnTo>
                  <a:lnTo>
                    <a:pt x="278" y="1203"/>
                  </a:lnTo>
                  <a:lnTo>
                    <a:pt x="282" y="1291"/>
                  </a:lnTo>
                  <a:lnTo>
                    <a:pt x="295" y="1377"/>
                  </a:lnTo>
                  <a:lnTo>
                    <a:pt x="315" y="1461"/>
                  </a:lnTo>
                  <a:lnTo>
                    <a:pt x="343" y="1541"/>
                  </a:lnTo>
                  <a:lnTo>
                    <a:pt x="377" y="1618"/>
                  </a:lnTo>
                  <a:lnTo>
                    <a:pt x="419" y="1691"/>
                  </a:lnTo>
                  <a:lnTo>
                    <a:pt x="467" y="1760"/>
                  </a:lnTo>
                  <a:lnTo>
                    <a:pt x="519" y="1824"/>
                  </a:lnTo>
                  <a:lnTo>
                    <a:pt x="579" y="1883"/>
                  </a:lnTo>
                  <a:lnTo>
                    <a:pt x="643" y="1937"/>
                  </a:lnTo>
                  <a:lnTo>
                    <a:pt x="711" y="1985"/>
                  </a:lnTo>
                  <a:lnTo>
                    <a:pt x="785" y="2026"/>
                  </a:lnTo>
                  <a:lnTo>
                    <a:pt x="861" y="2061"/>
                  </a:lnTo>
                  <a:lnTo>
                    <a:pt x="942" y="2088"/>
                  </a:lnTo>
                  <a:lnTo>
                    <a:pt x="1026" y="2107"/>
                  </a:lnTo>
                  <a:lnTo>
                    <a:pt x="1112" y="2120"/>
                  </a:lnTo>
                  <a:lnTo>
                    <a:pt x="1201" y="2125"/>
                  </a:lnTo>
                  <a:lnTo>
                    <a:pt x="1291" y="2120"/>
                  </a:lnTo>
                  <a:lnTo>
                    <a:pt x="1376" y="2107"/>
                  </a:lnTo>
                  <a:lnTo>
                    <a:pt x="1461" y="2088"/>
                  </a:lnTo>
                  <a:lnTo>
                    <a:pt x="1542" y="2061"/>
                  </a:lnTo>
                  <a:lnTo>
                    <a:pt x="1618" y="2026"/>
                  </a:lnTo>
                  <a:lnTo>
                    <a:pt x="1692" y="1985"/>
                  </a:lnTo>
                  <a:lnTo>
                    <a:pt x="1760" y="1937"/>
                  </a:lnTo>
                  <a:lnTo>
                    <a:pt x="1824" y="1883"/>
                  </a:lnTo>
                  <a:lnTo>
                    <a:pt x="1884" y="1824"/>
                  </a:lnTo>
                  <a:lnTo>
                    <a:pt x="1936" y="1760"/>
                  </a:lnTo>
                  <a:lnTo>
                    <a:pt x="1984" y="1691"/>
                  </a:lnTo>
                  <a:lnTo>
                    <a:pt x="2026" y="1618"/>
                  </a:lnTo>
                  <a:lnTo>
                    <a:pt x="2060" y="1541"/>
                  </a:lnTo>
                  <a:lnTo>
                    <a:pt x="2088" y="1461"/>
                  </a:lnTo>
                  <a:lnTo>
                    <a:pt x="2108" y="1377"/>
                  </a:lnTo>
                  <a:lnTo>
                    <a:pt x="2121" y="1291"/>
                  </a:lnTo>
                  <a:lnTo>
                    <a:pt x="2125" y="1203"/>
                  </a:lnTo>
                  <a:lnTo>
                    <a:pt x="2121" y="1113"/>
                  </a:lnTo>
                  <a:lnTo>
                    <a:pt x="2108" y="1026"/>
                  </a:lnTo>
                  <a:lnTo>
                    <a:pt x="2088" y="942"/>
                  </a:lnTo>
                  <a:lnTo>
                    <a:pt x="2060" y="862"/>
                  </a:lnTo>
                  <a:lnTo>
                    <a:pt x="2026" y="785"/>
                  </a:lnTo>
                  <a:lnTo>
                    <a:pt x="1984" y="712"/>
                  </a:lnTo>
                  <a:lnTo>
                    <a:pt x="1936" y="643"/>
                  </a:lnTo>
                  <a:lnTo>
                    <a:pt x="1884" y="580"/>
                  </a:lnTo>
                  <a:lnTo>
                    <a:pt x="1824" y="521"/>
                  </a:lnTo>
                  <a:lnTo>
                    <a:pt x="1760" y="467"/>
                  </a:lnTo>
                  <a:lnTo>
                    <a:pt x="1692" y="420"/>
                  </a:lnTo>
                  <a:lnTo>
                    <a:pt x="1618" y="379"/>
                  </a:lnTo>
                  <a:lnTo>
                    <a:pt x="1542" y="343"/>
                  </a:lnTo>
                  <a:lnTo>
                    <a:pt x="1461" y="316"/>
                  </a:lnTo>
                  <a:lnTo>
                    <a:pt x="1376" y="296"/>
                  </a:lnTo>
                  <a:lnTo>
                    <a:pt x="1291" y="284"/>
                  </a:lnTo>
                  <a:lnTo>
                    <a:pt x="1201" y="280"/>
                  </a:lnTo>
                  <a:close/>
                  <a:moveTo>
                    <a:pt x="1201" y="0"/>
                  </a:moveTo>
                  <a:lnTo>
                    <a:pt x="1301" y="5"/>
                  </a:lnTo>
                  <a:lnTo>
                    <a:pt x="1396" y="17"/>
                  </a:lnTo>
                  <a:lnTo>
                    <a:pt x="1491" y="36"/>
                  </a:lnTo>
                  <a:lnTo>
                    <a:pt x="1582" y="62"/>
                  </a:lnTo>
                  <a:lnTo>
                    <a:pt x="1669" y="95"/>
                  </a:lnTo>
                  <a:lnTo>
                    <a:pt x="1754" y="135"/>
                  </a:lnTo>
                  <a:lnTo>
                    <a:pt x="1834" y="181"/>
                  </a:lnTo>
                  <a:lnTo>
                    <a:pt x="1911" y="233"/>
                  </a:lnTo>
                  <a:lnTo>
                    <a:pt x="1984" y="290"/>
                  </a:lnTo>
                  <a:lnTo>
                    <a:pt x="2052" y="353"/>
                  </a:lnTo>
                  <a:lnTo>
                    <a:pt x="2114" y="420"/>
                  </a:lnTo>
                  <a:lnTo>
                    <a:pt x="2172" y="492"/>
                  </a:lnTo>
                  <a:lnTo>
                    <a:pt x="2223" y="569"/>
                  </a:lnTo>
                  <a:lnTo>
                    <a:pt x="2270" y="650"/>
                  </a:lnTo>
                  <a:lnTo>
                    <a:pt x="2310" y="734"/>
                  </a:lnTo>
                  <a:lnTo>
                    <a:pt x="2343" y="823"/>
                  </a:lnTo>
                  <a:lnTo>
                    <a:pt x="2369" y="913"/>
                  </a:lnTo>
                  <a:lnTo>
                    <a:pt x="2388" y="1007"/>
                  </a:lnTo>
                  <a:lnTo>
                    <a:pt x="2399" y="1103"/>
                  </a:lnTo>
                  <a:lnTo>
                    <a:pt x="2403" y="1203"/>
                  </a:lnTo>
                  <a:lnTo>
                    <a:pt x="2399" y="1300"/>
                  </a:lnTo>
                  <a:lnTo>
                    <a:pt x="2388" y="1397"/>
                  </a:lnTo>
                  <a:lnTo>
                    <a:pt x="2369" y="1490"/>
                  </a:lnTo>
                  <a:lnTo>
                    <a:pt x="2343" y="1581"/>
                  </a:lnTo>
                  <a:lnTo>
                    <a:pt x="2310" y="1669"/>
                  </a:lnTo>
                  <a:lnTo>
                    <a:pt x="2270" y="1753"/>
                  </a:lnTo>
                  <a:lnTo>
                    <a:pt x="2223" y="1835"/>
                  </a:lnTo>
                  <a:lnTo>
                    <a:pt x="2172" y="1912"/>
                  </a:lnTo>
                  <a:lnTo>
                    <a:pt x="2114" y="1983"/>
                  </a:lnTo>
                  <a:lnTo>
                    <a:pt x="2052" y="2051"/>
                  </a:lnTo>
                  <a:lnTo>
                    <a:pt x="1984" y="2114"/>
                  </a:lnTo>
                  <a:lnTo>
                    <a:pt x="1911" y="2171"/>
                  </a:lnTo>
                  <a:lnTo>
                    <a:pt x="1834" y="2223"/>
                  </a:lnTo>
                  <a:lnTo>
                    <a:pt x="1754" y="2268"/>
                  </a:lnTo>
                  <a:lnTo>
                    <a:pt x="1669" y="2308"/>
                  </a:lnTo>
                  <a:lnTo>
                    <a:pt x="1582" y="2341"/>
                  </a:lnTo>
                  <a:lnTo>
                    <a:pt x="1491" y="2368"/>
                  </a:lnTo>
                  <a:lnTo>
                    <a:pt x="1396" y="2387"/>
                  </a:lnTo>
                  <a:lnTo>
                    <a:pt x="1301" y="2399"/>
                  </a:lnTo>
                  <a:lnTo>
                    <a:pt x="1201" y="2403"/>
                  </a:lnTo>
                  <a:lnTo>
                    <a:pt x="1102" y="2399"/>
                  </a:lnTo>
                  <a:lnTo>
                    <a:pt x="1007" y="2387"/>
                  </a:lnTo>
                  <a:lnTo>
                    <a:pt x="912" y="2368"/>
                  </a:lnTo>
                  <a:lnTo>
                    <a:pt x="821" y="2341"/>
                  </a:lnTo>
                  <a:lnTo>
                    <a:pt x="734" y="2308"/>
                  </a:lnTo>
                  <a:lnTo>
                    <a:pt x="649" y="2268"/>
                  </a:lnTo>
                  <a:lnTo>
                    <a:pt x="569" y="2223"/>
                  </a:lnTo>
                  <a:lnTo>
                    <a:pt x="492" y="2171"/>
                  </a:lnTo>
                  <a:lnTo>
                    <a:pt x="419" y="2114"/>
                  </a:lnTo>
                  <a:lnTo>
                    <a:pt x="351" y="2051"/>
                  </a:lnTo>
                  <a:lnTo>
                    <a:pt x="289" y="1983"/>
                  </a:lnTo>
                  <a:lnTo>
                    <a:pt x="231" y="1912"/>
                  </a:lnTo>
                  <a:lnTo>
                    <a:pt x="180" y="1835"/>
                  </a:lnTo>
                  <a:lnTo>
                    <a:pt x="133" y="1753"/>
                  </a:lnTo>
                  <a:lnTo>
                    <a:pt x="93" y="1669"/>
                  </a:lnTo>
                  <a:lnTo>
                    <a:pt x="60" y="1581"/>
                  </a:lnTo>
                  <a:lnTo>
                    <a:pt x="34" y="1490"/>
                  </a:lnTo>
                  <a:lnTo>
                    <a:pt x="15" y="1397"/>
                  </a:lnTo>
                  <a:lnTo>
                    <a:pt x="4" y="1300"/>
                  </a:lnTo>
                  <a:lnTo>
                    <a:pt x="0" y="1203"/>
                  </a:lnTo>
                  <a:lnTo>
                    <a:pt x="4" y="1103"/>
                  </a:lnTo>
                  <a:lnTo>
                    <a:pt x="15" y="1007"/>
                  </a:lnTo>
                  <a:lnTo>
                    <a:pt x="34" y="913"/>
                  </a:lnTo>
                  <a:lnTo>
                    <a:pt x="60" y="823"/>
                  </a:lnTo>
                  <a:lnTo>
                    <a:pt x="93" y="734"/>
                  </a:lnTo>
                  <a:lnTo>
                    <a:pt x="133" y="650"/>
                  </a:lnTo>
                  <a:lnTo>
                    <a:pt x="180" y="569"/>
                  </a:lnTo>
                  <a:lnTo>
                    <a:pt x="231" y="492"/>
                  </a:lnTo>
                  <a:lnTo>
                    <a:pt x="289" y="420"/>
                  </a:lnTo>
                  <a:lnTo>
                    <a:pt x="351" y="353"/>
                  </a:lnTo>
                  <a:lnTo>
                    <a:pt x="419" y="290"/>
                  </a:lnTo>
                  <a:lnTo>
                    <a:pt x="492" y="233"/>
                  </a:lnTo>
                  <a:lnTo>
                    <a:pt x="569" y="181"/>
                  </a:lnTo>
                  <a:lnTo>
                    <a:pt x="649" y="135"/>
                  </a:lnTo>
                  <a:lnTo>
                    <a:pt x="734" y="95"/>
                  </a:lnTo>
                  <a:lnTo>
                    <a:pt x="821" y="62"/>
                  </a:lnTo>
                  <a:lnTo>
                    <a:pt x="912" y="36"/>
                  </a:lnTo>
                  <a:lnTo>
                    <a:pt x="1007" y="17"/>
                  </a:lnTo>
                  <a:lnTo>
                    <a:pt x="1102" y="5"/>
                  </a:lnTo>
                  <a:lnTo>
                    <a:pt x="12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95" name="Freeform 16"/>
            <p:cNvSpPr>
              <a:spLocks/>
            </p:cNvSpPr>
            <p:nvPr/>
          </p:nvSpPr>
          <p:spPr bwMode="auto">
            <a:xfrm>
              <a:off x="2367" y="2423"/>
              <a:ext cx="1647" cy="725"/>
            </a:xfrm>
            <a:custGeom>
              <a:avLst/>
              <a:gdLst>
                <a:gd name="T0" fmla="*/ 1042 w 3293"/>
                <a:gd name="T1" fmla="*/ 18 h 1448"/>
                <a:gd name="T2" fmla="*/ 1294 w 3293"/>
                <a:gd name="T3" fmla="*/ 74 h 1448"/>
                <a:gd name="T4" fmla="*/ 1565 w 3293"/>
                <a:gd name="T5" fmla="*/ 150 h 1448"/>
                <a:gd name="T6" fmla="*/ 1817 w 3293"/>
                <a:gd name="T7" fmla="*/ 230 h 1448"/>
                <a:gd name="T8" fmla="*/ 2012 w 3293"/>
                <a:gd name="T9" fmla="*/ 292 h 1448"/>
                <a:gd name="T10" fmla="*/ 2119 w 3293"/>
                <a:gd name="T11" fmla="*/ 323 h 1448"/>
                <a:gd name="T12" fmla="*/ 2185 w 3293"/>
                <a:gd name="T13" fmla="*/ 389 h 1448"/>
                <a:gd name="T14" fmla="*/ 2194 w 3293"/>
                <a:gd name="T15" fmla="*/ 486 h 1448"/>
                <a:gd name="T16" fmla="*/ 2129 w 3293"/>
                <a:gd name="T17" fmla="*/ 582 h 1448"/>
                <a:gd name="T18" fmla="*/ 1976 w 3293"/>
                <a:gd name="T19" fmla="*/ 641 h 1448"/>
                <a:gd name="T20" fmla="*/ 1775 w 3293"/>
                <a:gd name="T21" fmla="*/ 653 h 1448"/>
                <a:gd name="T22" fmla="*/ 1567 w 3293"/>
                <a:gd name="T23" fmla="*/ 632 h 1448"/>
                <a:gd name="T24" fmla="*/ 1381 w 3293"/>
                <a:gd name="T25" fmla="*/ 600 h 1448"/>
                <a:gd name="T26" fmla="*/ 1247 w 3293"/>
                <a:gd name="T27" fmla="*/ 577 h 1448"/>
                <a:gd name="T28" fmla="*/ 1196 w 3293"/>
                <a:gd name="T29" fmla="*/ 585 h 1448"/>
                <a:gd name="T30" fmla="*/ 1266 w 3293"/>
                <a:gd name="T31" fmla="*/ 669 h 1448"/>
                <a:gd name="T32" fmla="*/ 1444 w 3293"/>
                <a:gd name="T33" fmla="*/ 739 h 1448"/>
                <a:gd name="T34" fmla="*/ 1681 w 3293"/>
                <a:gd name="T35" fmla="*/ 786 h 1448"/>
                <a:gd name="T36" fmla="*/ 1929 w 3293"/>
                <a:gd name="T37" fmla="*/ 804 h 1448"/>
                <a:gd name="T38" fmla="*/ 2225 w 3293"/>
                <a:gd name="T39" fmla="*/ 770 h 1448"/>
                <a:gd name="T40" fmla="*/ 2730 w 3293"/>
                <a:gd name="T41" fmla="*/ 618 h 1448"/>
                <a:gd name="T42" fmla="*/ 3090 w 3293"/>
                <a:gd name="T43" fmla="*/ 450 h 1448"/>
                <a:gd name="T44" fmla="*/ 3219 w 3293"/>
                <a:gd name="T45" fmla="*/ 461 h 1448"/>
                <a:gd name="T46" fmla="*/ 3289 w 3293"/>
                <a:gd name="T47" fmla="*/ 563 h 1448"/>
                <a:gd name="T48" fmla="*/ 3258 w 3293"/>
                <a:gd name="T49" fmla="*/ 717 h 1448"/>
                <a:gd name="T50" fmla="*/ 3138 w 3293"/>
                <a:gd name="T51" fmla="*/ 845 h 1448"/>
                <a:gd name="T52" fmla="*/ 2972 w 3293"/>
                <a:gd name="T53" fmla="*/ 960 h 1448"/>
                <a:gd name="T54" fmla="*/ 2749 w 3293"/>
                <a:gd name="T55" fmla="*/ 1099 h 1448"/>
                <a:gd name="T56" fmla="*/ 2501 w 3293"/>
                <a:gd name="T57" fmla="*/ 1238 h 1448"/>
                <a:gd name="T58" fmla="*/ 2264 w 3293"/>
                <a:gd name="T59" fmla="*/ 1356 h 1448"/>
                <a:gd name="T60" fmla="*/ 2072 w 3293"/>
                <a:gd name="T61" fmla="*/ 1433 h 1448"/>
                <a:gd name="T62" fmla="*/ 1939 w 3293"/>
                <a:gd name="T63" fmla="*/ 1448 h 1448"/>
                <a:gd name="T64" fmla="*/ 1717 w 3293"/>
                <a:gd name="T65" fmla="*/ 1429 h 1448"/>
                <a:gd name="T66" fmla="*/ 1426 w 3293"/>
                <a:gd name="T67" fmla="*/ 1391 h 1448"/>
                <a:gd name="T68" fmla="*/ 1105 w 3293"/>
                <a:gd name="T69" fmla="*/ 1341 h 1448"/>
                <a:gd name="T70" fmla="*/ 796 w 3293"/>
                <a:gd name="T71" fmla="*/ 1289 h 1448"/>
                <a:gd name="T72" fmla="*/ 541 w 3293"/>
                <a:gd name="T73" fmla="*/ 1242 h 1448"/>
                <a:gd name="T74" fmla="*/ 380 w 3293"/>
                <a:gd name="T75" fmla="*/ 1212 h 1448"/>
                <a:gd name="T76" fmla="*/ 246 w 3293"/>
                <a:gd name="T77" fmla="*/ 1216 h 1448"/>
                <a:gd name="T78" fmla="*/ 107 w 3293"/>
                <a:gd name="T79" fmla="*/ 1296 h 1448"/>
                <a:gd name="T80" fmla="*/ 34 w 3293"/>
                <a:gd name="T81" fmla="*/ 1341 h 1448"/>
                <a:gd name="T82" fmla="*/ 7 w 3293"/>
                <a:gd name="T83" fmla="*/ 1316 h 1448"/>
                <a:gd name="T84" fmla="*/ 0 w 3293"/>
                <a:gd name="T85" fmla="*/ 1290 h 1448"/>
                <a:gd name="T86" fmla="*/ 22 w 3293"/>
                <a:gd name="T87" fmla="*/ 955 h 1448"/>
                <a:gd name="T88" fmla="*/ 46 w 3293"/>
                <a:gd name="T89" fmla="*/ 567 h 1448"/>
                <a:gd name="T90" fmla="*/ 69 w 3293"/>
                <a:gd name="T91" fmla="*/ 220 h 1448"/>
                <a:gd name="T92" fmla="*/ 92 w 3293"/>
                <a:gd name="T93" fmla="*/ 106 h 1448"/>
                <a:gd name="T94" fmla="*/ 157 w 3293"/>
                <a:gd name="T95" fmla="*/ 87 h 1448"/>
                <a:gd name="T96" fmla="*/ 330 w 3293"/>
                <a:gd name="T97" fmla="*/ 59 h 1448"/>
                <a:gd name="T98" fmla="*/ 576 w 3293"/>
                <a:gd name="T99" fmla="*/ 25 h 1448"/>
                <a:gd name="T100" fmla="*/ 803 w 3293"/>
                <a:gd name="T101" fmla="*/ 3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93" h="1448">
                  <a:moveTo>
                    <a:pt x="889" y="0"/>
                  </a:moveTo>
                  <a:lnTo>
                    <a:pt x="935" y="3"/>
                  </a:lnTo>
                  <a:lnTo>
                    <a:pt x="986" y="9"/>
                  </a:lnTo>
                  <a:lnTo>
                    <a:pt x="1042" y="18"/>
                  </a:lnTo>
                  <a:lnTo>
                    <a:pt x="1101" y="29"/>
                  </a:lnTo>
                  <a:lnTo>
                    <a:pt x="1163" y="42"/>
                  </a:lnTo>
                  <a:lnTo>
                    <a:pt x="1228" y="58"/>
                  </a:lnTo>
                  <a:lnTo>
                    <a:pt x="1294" y="74"/>
                  </a:lnTo>
                  <a:lnTo>
                    <a:pt x="1361" y="92"/>
                  </a:lnTo>
                  <a:lnTo>
                    <a:pt x="1430" y="111"/>
                  </a:lnTo>
                  <a:lnTo>
                    <a:pt x="1498" y="131"/>
                  </a:lnTo>
                  <a:lnTo>
                    <a:pt x="1565" y="150"/>
                  </a:lnTo>
                  <a:lnTo>
                    <a:pt x="1631" y="171"/>
                  </a:lnTo>
                  <a:lnTo>
                    <a:pt x="1696" y="191"/>
                  </a:lnTo>
                  <a:lnTo>
                    <a:pt x="1758" y="210"/>
                  </a:lnTo>
                  <a:lnTo>
                    <a:pt x="1817" y="230"/>
                  </a:lnTo>
                  <a:lnTo>
                    <a:pt x="1873" y="248"/>
                  </a:lnTo>
                  <a:lnTo>
                    <a:pt x="1924" y="264"/>
                  </a:lnTo>
                  <a:lnTo>
                    <a:pt x="1970" y="278"/>
                  </a:lnTo>
                  <a:lnTo>
                    <a:pt x="2012" y="292"/>
                  </a:lnTo>
                  <a:lnTo>
                    <a:pt x="2046" y="301"/>
                  </a:lnTo>
                  <a:lnTo>
                    <a:pt x="2075" y="310"/>
                  </a:lnTo>
                  <a:lnTo>
                    <a:pt x="2097" y="315"/>
                  </a:lnTo>
                  <a:lnTo>
                    <a:pt x="2119" y="323"/>
                  </a:lnTo>
                  <a:lnTo>
                    <a:pt x="2140" y="336"/>
                  </a:lnTo>
                  <a:lnTo>
                    <a:pt x="2158" y="351"/>
                  </a:lnTo>
                  <a:lnTo>
                    <a:pt x="2173" y="369"/>
                  </a:lnTo>
                  <a:lnTo>
                    <a:pt x="2185" y="389"/>
                  </a:lnTo>
                  <a:lnTo>
                    <a:pt x="2192" y="412"/>
                  </a:lnTo>
                  <a:lnTo>
                    <a:pt x="2198" y="436"/>
                  </a:lnTo>
                  <a:lnTo>
                    <a:pt x="2198" y="461"/>
                  </a:lnTo>
                  <a:lnTo>
                    <a:pt x="2194" y="486"/>
                  </a:lnTo>
                  <a:lnTo>
                    <a:pt x="2184" y="512"/>
                  </a:lnTo>
                  <a:lnTo>
                    <a:pt x="2172" y="537"/>
                  </a:lnTo>
                  <a:lnTo>
                    <a:pt x="2152" y="560"/>
                  </a:lnTo>
                  <a:lnTo>
                    <a:pt x="2129" y="582"/>
                  </a:lnTo>
                  <a:lnTo>
                    <a:pt x="2099" y="602"/>
                  </a:lnTo>
                  <a:lnTo>
                    <a:pt x="2063" y="618"/>
                  </a:lnTo>
                  <a:lnTo>
                    <a:pt x="2021" y="632"/>
                  </a:lnTo>
                  <a:lnTo>
                    <a:pt x="1976" y="641"/>
                  </a:lnTo>
                  <a:lnTo>
                    <a:pt x="1928" y="648"/>
                  </a:lnTo>
                  <a:lnTo>
                    <a:pt x="1878" y="653"/>
                  </a:lnTo>
                  <a:lnTo>
                    <a:pt x="1827" y="654"/>
                  </a:lnTo>
                  <a:lnTo>
                    <a:pt x="1775" y="653"/>
                  </a:lnTo>
                  <a:lnTo>
                    <a:pt x="1722" y="650"/>
                  </a:lnTo>
                  <a:lnTo>
                    <a:pt x="1669" y="646"/>
                  </a:lnTo>
                  <a:lnTo>
                    <a:pt x="1618" y="639"/>
                  </a:lnTo>
                  <a:lnTo>
                    <a:pt x="1567" y="632"/>
                  </a:lnTo>
                  <a:lnTo>
                    <a:pt x="1516" y="624"/>
                  </a:lnTo>
                  <a:lnTo>
                    <a:pt x="1469" y="615"/>
                  </a:lnTo>
                  <a:lnTo>
                    <a:pt x="1423" y="607"/>
                  </a:lnTo>
                  <a:lnTo>
                    <a:pt x="1381" y="600"/>
                  </a:lnTo>
                  <a:lnTo>
                    <a:pt x="1341" y="592"/>
                  </a:lnTo>
                  <a:lnTo>
                    <a:pt x="1305" y="586"/>
                  </a:lnTo>
                  <a:lnTo>
                    <a:pt x="1273" y="581"/>
                  </a:lnTo>
                  <a:lnTo>
                    <a:pt x="1247" y="577"/>
                  </a:lnTo>
                  <a:lnTo>
                    <a:pt x="1225" y="575"/>
                  </a:lnTo>
                  <a:lnTo>
                    <a:pt x="1210" y="575"/>
                  </a:lnTo>
                  <a:lnTo>
                    <a:pt x="1199" y="580"/>
                  </a:lnTo>
                  <a:lnTo>
                    <a:pt x="1196" y="585"/>
                  </a:lnTo>
                  <a:lnTo>
                    <a:pt x="1200" y="607"/>
                  </a:lnTo>
                  <a:lnTo>
                    <a:pt x="1214" y="628"/>
                  </a:lnTo>
                  <a:lnTo>
                    <a:pt x="1236" y="648"/>
                  </a:lnTo>
                  <a:lnTo>
                    <a:pt x="1266" y="669"/>
                  </a:lnTo>
                  <a:lnTo>
                    <a:pt x="1302" y="688"/>
                  </a:lnTo>
                  <a:lnTo>
                    <a:pt x="1345" y="706"/>
                  </a:lnTo>
                  <a:lnTo>
                    <a:pt x="1392" y="723"/>
                  </a:lnTo>
                  <a:lnTo>
                    <a:pt x="1444" y="739"/>
                  </a:lnTo>
                  <a:lnTo>
                    <a:pt x="1499" y="753"/>
                  </a:lnTo>
                  <a:lnTo>
                    <a:pt x="1558" y="765"/>
                  </a:lnTo>
                  <a:lnTo>
                    <a:pt x="1619" y="776"/>
                  </a:lnTo>
                  <a:lnTo>
                    <a:pt x="1681" y="786"/>
                  </a:lnTo>
                  <a:lnTo>
                    <a:pt x="1744" y="794"/>
                  </a:lnTo>
                  <a:lnTo>
                    <a:pt x="1806" y="800"/>
                  </a:lnTo>
                  <a:lnTo>
                    <a:pt x="1868" y="803"/>
                  </a:lnTo>
                  <a:lnTo>
                    <a:pt x="1929" y="804"/>
                  </a:lnTo>
                  <a:lnTo>
                    <a:pt x="1988" y="803"/>
                  </a:lnTo>
                  <a:lnTo>
                    <a:pt x="2043" y="800"/>
                  </a:lnTo>
                  <a:lnTo>
                    <a:pt x="2094" y="793"/>
                  </a:lnTo>
                  <a:lnTo>
                    <a:pt x="2225" y="770"/>
                  </a:lnTo>
                  <a:lnTo>
                    <a:pt x="2356" y="739"/>
                  </a:lnTo>
                  <a:lnTo>
                    <a:pt x="2484" y="703"/>
                  </a:lnTo>
                  <a:lnTo>
                    <a:pt x="2609" y="662"/>
                  </a:lnTo>
                  <a:lnTo>
                    <a:pt x="2730" y="618"/>
                  </a:lnTo>
                  <a:lnTo>
                    <a:pt x="2844" y="570"/>
                  </a:lnTo>
                  <a:lnTo>
                    <a:pt x="2952" y="519"/>
                  </a:lnTo>
                  <a:lnTo>
                    <a:pt x="3052" y="467"/>
                  </a:lnTo>
                  <a:lnTo>
                    <a:pt x="3090" y="450"/>
                  </a:lnTo>
                  <a:lnTo>
                    <a:pt x="3125" y="443"/>
                  </a:lnTo>
                  <a:lnTo>
                    <a:pt x="3158" y="442"/>
                  </a:lnTo>
                  <a:lnTo>
                    <a:pt x="3190" y="449"/>
                  </a:lnTo>
                  <a:lnTo>
                    <a:pt x="3219" y="461"/>
                  </a:lnTo>
                  <a:lnTo>
                    <a:pt x="3244" y="479"/>
                  </a:lnTo>
                  <a:lnTo>
                    <a:pt x="3265" y="502"/>
                  </a:lnTo>
                  <a:lnTo>
                    <a:pt x="3280" y="531"/>
                  </a:lnTo>
                  <a:lnTo>
                    <a:pt x="3289" y="563"/>
                  </a:lnTo>
                  <a:lnTo>
                    <a:pt x="3293" y="597"/>
                  </a:lnTo>
                  <a:lnTo>
                    <a:pt x="3289" y="636"/>
                  </a:lnTo>
                  <a:lnTo>
                    <a:pt x="3277" y="676"/>
                  </a:lnTo>
                  <a:lnTo>
                    <a:pt x="3258" y="717"/>
                  </a:lnTo>
                  <a:lnTo>
                    <a:pt x="3227" y="760"/>
                  </a:lnTo>
                  <a:lnTo>
                    <a:pt x="3189" y="803"/>
                  </a:lnTo>
                  <a:lnTo>
                    <a:pt x="3167" y="822"/>
                  </a:lnTo>
                  <a:lnTo>
                    <a:pt x="3138" y="845"/>
                  </a:lnTo>
                  <a:lnTo>
                    <a:pt x="3105" y="870"/>
                  </a:lnTo>
                  <a:lnTo>
                    <a:pt x="3065" y="898"/>
                  </a:lnTo>
                  <a:lnTo>
                    <a:pt x="3021" y="928"/>
                  </a:lnTo>
                  <a:lnTo>
                    <a:pt x="2972" y="960"/>
                  </a:lnTo>
                  <a:lnTo>
                    <a:pt x="2921" y="994"/>
                  </a:lnTo>
                  <a:lnTo>
                    <a:pt x="2866" y="1027"/>
                  </a:lnTo>
                  <a:lnTo>
                    <a:pt x="2808" y="1063"/>
                  </a:lnTo>
                  <a:lnTo>
                    <a:pt x="2749" y="1099"/>
                  </a:lnTo>
                  <a:lnTo>
                    <a:pt x="2688" y="1134"/>
                  </a:lnTo>
                  <a:lnTo>
                    <a:pt x="2626" y="1169"/>
                  </a:lnTo>
                  <a:lnTo>
                    <a:pt x="2563" y="1203"/>
                  </a:lnTo>
                  <a:lnTo>
                    <a:pt x="2501" y="1238"/>
                  </a:lnTo>
                  <a:lnTo>
                    <a:pt x="2439" y="1271"/>
                  </a:lnTo>
                  <a:lnTo>
                    <a:pt x="2380" y="1301"/>
                  </a:lnTo>
                  <a:lnTo>
                    <a:pt x="2320" y="1330"/>
                  </a:lnTo>
                  <a:lnTo>
                    <a:pt x="2264" y="1356"/>
                  </a:lnTo>
                  <a:lnTo>
                    <a:pt x="2210" y="1381"/>
                  </a:lnTo>
                  <a:lnTo>
                    <a:pt x="2161" y="1402"/>
                  </a:lnTo>
                  <a:lnTo>
                    <a:pt x="2114" y="1420"/>
                  </a:lnTo>
                  <a:lnTo>
                    <a:pt x="2072" y="1433"/>
                  </a:lnTo>
                  <a:lnTo>
                    <a:pt x="2035" y="1443"/>
                  </a:lnTo>
                  <a:lnTo>
                    <a:pt x="2010" y="1447"/>
                  </a:lnTo>
                  <a:lnTo>
                    <a:pt x="1979" y="1448"/>
                  </a:lnTo>
                  <a:lnTo>
                    <a:pt x="1939" y="1448"/>
                  </a:lnTo>
                  <a:lnTo>
                    <a:pt x="1892" y="1446"/>
                  </a:lnTo>
                  <a:lnTo>
                    <a:pt x="1840" y="1442"/>
                  </a:lnTo>
                  <a:lnTo>
                    <a:pt x="1780" y="1436"/>
                  </a:lnTo>
                  <a:lnTo>
                    <a:pt x="1717" y="1429"/>
                  </a:lnTo>
                  <a:lnTo>
                    <a:pt x="1649" y="1421"/>
                  </a:lnTo>
                  <a:lnTo>
                    <a:pt x="1578" y="1413"/>
                  </a:lnTo>
                  <a:lnTo>
                    <a:pt x="1503" y="1402"/>
                  </a:lnTo>
                  <a:lnTo>
                    <a:pt x="1426" y="1391"/>
                  </a:lnTo>
                  <a:lnTo>
                    <a:pt x="1346" y="1380"/>
                  </a:lnTo>
                  <a:lnTo>
                    <a:pt x="1266" y="1367"/>
                  </a:lnTo>
                  <a:lnTo>
                    <a:pt x="1186" y="1355"/>
                  </a:lnTo>
                  <a:lnTo>
                    <a:pt x="1105" y="1341"/>
                  </a:lnTo>
                  <a:lnTo>
                    <a:pt x="1025" y="1329"/>
                  </a:lnTo>
                  <a:lnTo>
                    <a:pt x="946" y="1315"/>
                  </a:lnTo>
                  <a:lnTo>
                    <a:pt x="871" y="1301"/>
                  </a:lnTo>
                  <a:lnTo>
                    <a:pt x="796" y="1289"/>
                  </a:lnTo>
                  <a:lnTo>
                    <a:pt x="726" y="1276"/>
                  </a:lnTo>
                  <a:lnTo>
                    <a:pt x="660" y="1264"/>
                  </a:lnTo>
                  <a:lnTo>
                    <a:pt x="598" y="1253"/>
                  </a:lnTo>
                  <a:lnTo>
                    <a:pt x="541" y="1242"/>
                  </a:lnTo>
                  <a:lnTo>
                    <a:pt x="490" y="1232"/>
                  </a:lnTo>
                  <a:lnTo>
                    <a:pt x="446" y="1224"/>
                  </a:lnTo>
                  <a:lnTo>
                    <a:pt x="409" y="1217"/>
                  </a:lnTo>
                  <a:lnTo>
                    <a:pt x="380" y="1212"/>
                  </a:lnTo>
                  <a:lnTo>
                    <a:pt x="359" y="1206"/>
                  </a:lnTo>
                  <a:lnTo>
                    <a:pt x="322" y="1202"/>
                  </a:lnTo>
                  <a:lnTo>
                    <a:pt x="284" y="1206"/>
                  </a:lnTo>
                  <a:lnTo>
                    <a:pt x="246" y="1216"/>
                  </a:lnTo>
                  <a:lnTo>
                    <a:pt x="210" y="1231"/>
                  </a:lnTo>
                  <a:lnTo>
                    <a:pt x="175" y="1250"/>
                  </a:lnTo>
                  <a:lnTo>
                    <a:pt x="140" y="1272"/>
                  </a:lnTo>
                  <a:lnTo>
                    <a:pt x="107" y="1296"/>
                  </a:lnTo>
                  <a:lnTo>
                    <a:pt x="78" y="1320"/>
                  </a:lnTo>
                  <a:lnTo>
                    <a:pt x="60" y="1333"/>
                  </a:lnTo>
                  <a:lnTo>
                    <a:pt x="45" y="1340"/>
                  </a:lnTo>
                  <a:lnTo>
                    <a:pt x="34" y="1341"/>
                  </a:lnTo>
                  <a:lnTo>
                    <a:pt x="24" y="1338"/>
                  </a:lnTo>
                  <a:lnTo>
                    <a:pt x="16" y="1333"/>
                  </a:lnTo>
                  <a:lnTo>
                    <a:pt x="11" y="1326"/>
                  </a:lnTo>
                  <a:lnTo>
                    <a:pt x="7" y="1316"/>
                  </a:lnTo>
                  <a:lnTo>
                    <a:pt x="2" y="1308"/>
                  </a:lnTo>
                  <a:lnTo>
                    <a:pt x="1" y="1300"/>
                  </a:lnTo>
                  <a:lnTo>
                    <a:pt x="1" y="1293"/>
                  </a:lnTo>
                  <a:lnTo>
                    <a:pt x="0" y="1290"/>
                  </a:lnTo>
                  <a:lnTo>
                    <a:pt x="5" y="1217"/>
                  </a:lnTo>
                  <a:lnTo>
                    <a:pt x="11" y="1136"/>
                  </a:lnTo>
                  <a:lnTo>
                    <a:pt x="16" y="1049"/>
                  </a:lnTo>
                  <a:lnTo>
                    <a:pt x="22" y="955"/>
                  </a:lnTo>
                  <a:lnTo>
                    <a:pt x="29" y="860"/>
                  </a:lnTo>
                  <a:lnTo>
                    <a:pt x="34" y="763"/>
                  </a:lnTo>
                  <a:lnTo>
                    <a:pt x="41" y="664"/>
                  </a:lnTo>
                  <a:lnTo>
                    <a:pt x="46" y="567"/>
                  </a:lnTo>
                  <a:lnTo>
                    <a:pt x="53" y="472"/>
                  </a:lnTo>
                  <a:lnTo>
                    <a:pt x="59" y="383"/>
                  </a:lnTo>
                  <a:lnTo>
                    <a:pt x="64" y="297"/>
                  </a:lnTo>
                  <a:lnTo>
                    <a:pt x="69" y="220"/>
                  </a:lnTo>
                  <a:lnTo>
                    <a:pt x="74" y="151"/>
                  </a:lnTo>
                  <a:lnTo>
                    <a:pt x="77" y="132"/>
                  </a:lnTo>
                  <a:lnTo>
                    <a:pt x="82" y="117"/>
                  </a:lnTo>
                  <a:lnTo>
                    <a:pt x="92" y="106"/>
                  </a:lnTo>
                  <a:lnTo>
                    <a:pt x="104" y="99"/>
                  </a:lnTo>
                  <a:lnTo>
                    <a:pt x="120" y="93"/>
                  </a:lnTo>
                  <a:lnTo>
                    <a:pt x="136" y="89"/>
                  </a:lnTo>
                  <a:lnTo>
                    <a:pt x="157" y="87"/>
                  </a:lnTo>
                  <a:lnTo>
                    <a:pt x="179" y="82"/>
                  </a:lnTo>
                  <a:lnTo>
                    <a:pt x="224" y="75"/>
                  </a:lnTo>
                  <a:lnTo>
                    <a:pt x="275" y="67"/>
                  </a:lnTo>
                  <a:lnTo>
                    <a:pt x="330" y="59"/>
                  </a:lnTo>
                  <a:lnTo>
                    <a:pt x="390" y="49"/>
                  </a:lnTo>
                  <a:lnTo>
                    <a:pt x="450" y="41"/>
                  </a:lnTo>
                  <a:lnTo>
                    <a:pt x="514" y="33"/>
                  </a:lnTo>
                  <a:lnTo>
                    <a:pt x="576" y="25"/>
                  </a:lnTo>
                  <a:lnTo>
                    <a:pt x="638" y="18"/>
                  </a:lnTo>
                  <a:lnTo>
                    <a:pt x="697" y="11"/>
                  </a:lnTo>
                  <a:lnTo>
                    <a:pt x="752" y="5"/>
                  </a:lnTo>
                  <a:lnTo>
                    <a:pt x="803" y="3"/>
                  </a:lnTo>
                  <a:lnTo>
                    <a:pt x="850" y="0"/>
                  </a:lnTo>
                  <a:lnTo>
                    <a:pt x="8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/>
          </p:nvSpPr>
          <p:spPr bwMode="auto">
            <a:xfrm>
              <a:off x="1743" y="2442"/>
              <a:ext cx="522" cy="673"/>
            </a:xfrm>
            <a:custGeom>
              <a:avLst/>
              <a:gdLst>
                <a:gd name="T0" fmla="*/ 542 w 1045"/>
                <a:gd name="T1" fmla="*/ 806 h 1345"/>
                <a:gd name="T2" fmla="*/ 502 w 1045"/>
                <a:gd name="T3" fmla="*/ 810 h 1345"/>
                <a:gd name="T4" fmla="*/ 466 w 1045"/>
                <a:gd name="T5" fmla="*/ 821 h 1345"/>
                <a:gd name="T6" fmla="*/ 433 w 1045"/>
                <a:gd name="T7" fmla="*/ 839 h 1345"/>
                <a:gd name="T8" fmla="*/ 404 w 1045"/>
                <a:gd name="T9" fmla="*/ 862 h 1345"/>
                <a:gd name="T10" fmla="*/ 380 w 1045"/>
                <a:gd name="T11" fmla="*/ 891 h 1345"/>
                <a:gd name="T12" fmla="*/ 362 w 1045"/>
                <a:gd name="T13" fmla="*/ 923 h 1345"/>
                <a:gd name="T14" fmla="*/ 351 w 1045"/>
                <a:gd name="T15" fmla="*/ 960 h 1345"/>
                <a:gd name="T16" fmla="*/ 347 w 1045"/>
                <a:gd name="T17" fmla="*/ 998 h 1345"/>
                <a:gd name="T18" fmla="*/ 351 w 1045"/>
                <a:gd name="T19" fmla="*/ 1037 h 1345"/>
                <a:gd name="T20" fmla="*/ 362 w 1045"/>
                <a:gd name="T21" fmla="*/ 1074 h 1345"/>
                <a:gd name="T22" fmla="*/ 380 w 1045"/>
                <a:gd name="T23" fmla="*/ 1107 h 1345"/>
                <a:gd name="T24" fmla="*/ 404 w 1045"/>
                <a:gd name="T25" fmla="*/ 1136 h 1345"/>
                <a:gd name="T26" fmla="*/ 433 w 1045"/>
                <a:gd name="T27" fmla="*/ 1159 h 1345"/>
                <a:gd name="T28" fmla="*/ 466 w 1045"/>
                <a:gd name="T29" fmla="*/ 1177 h 1345"/>
                <a:gd name="T30" fmla="*/ 502 w 1045"/>
                <a:gd name="T31" fmla="*/ 1188 h 1345"/>
                <a:gd name="T32" fmla="*/ 542 w 1045"/>
                <a:gd name="T33" fmla="*/ 1193 h 1345"/>
                <a:gd name="T34" fmla="*/ 580 w 1045"/>
                <a:gd name="T35" fmla="*/ 1188 h 1345"/>
                <a:gd name="T36" fmla="*/ 616 w 1045"/>
                <a:gd name="T37" fmla="*/ 1177 h 1345"/>
                <a:gd name="T38" fmla="*/ 649 w 1045"/>
                <a:gd name="T39" fmla="*/ 1159 h 1345"/>
                <a:gd name="T40" fmla="*/ 678 w 1045"/>
                <a:gd name="T41" fmla="*/ 1136 h 1345"/>
                <a:gd name="T42" fmla="*/ 701 w 1045"/>
                <a:gd name="T43" fmla="*/ 1107 h 1345"/>
                <a:gd name="T44" fmla="*/ 719 w 1045"/>
                <a:gd name="T45" fmla="*/ 1074 h 1345"/>
                <a:gd name="T46" fmla="*/ 730 w 1045"/>
                <a:gd name="T47" fmla="*/ 1037 h 1345"/>
                <a:gd name="T48" fmla="*/ 735 w 1045"/>
                <a:gd name="T49" fmla="*/ 998 h 1345"/>
                <a:gd name="T50" fmla="*/ 730 w 1045"/>
                <a:gd name="T51" fmla="*/ 960 h 1345"/>
                <a:gd name="T52" fmla="*/ 719 w 1045"/>
                <a:gd name="T53" fmla="*/ 923 h 1345"/>
                <a:gd name="T54" fmla="*/ 701 w 1045"/>
                <a:gd name="T55" fmla="*/ 891 h 1345"/>
                <a:gd name="T56" fmla="*/ 678 w 1045"/>
                <a:gd name="T57" fmla="*/ 862 h 1345"/>
                <a:gd name="T58" fmla="*/ 649 w 1045"/>
                <a:gd name="T59" fmla="*/ 839 h 1345"/>
                <a:gd name="T60" fmla="*/ 616 w 1045"/>
                <a:gd name="T61" fmla="*/ 821 h 1345"/>
                <a:gd name="T62" fmla="*/ 580 w 1045"/>
                <a:gd name="T63" fmla="*/ 810 h 1345"/>
                <a:gd name="T64" fmla="*/ 542 w 1045"/>
                <a:gd name="T65" fmla="*/ 806 h 1345"/>
                <a:gd name="T66" fmla="*/ 254 w 1045"/>
                <a:gd name="T67" fmla="*/ 0 h 1345"/>
                <a:gd name="T68" fmla="*/ 954 w 1045"/>
                <a:gd name="T69" fmla="*/ 34 h 1345"/>
                <a:gd name="T70" fmla="*/ 980 w 1045"/>
                <a:gd name="T71" fmla="*/ 40 h 1345"/>
                <a:gd name="T72" fmla="*/ 1002 w 1045"/>
                <a:gd name="T73" fmla="*/ 51 h 1345"/>
                <a:gd name="T74" fmla="*/ 1021 w 1045"/>
                <a:gd name="T75" fmla="*/ 67 h 1345"/>
                <a:gd name="T76" fmla="*/ 1035 w 1045"/>
                <a:gd name="T77" fmla="*/ 88 h 1345"/>
                <a:gd name="T78" fmla="*/ 1043 w 1045"/>
                <a:gd name="T79" fmla="*/ 111 h 1345"/>
                <a:gd name="T80" fmla="*/ 1045 w 1045"/>
                <a:gd name="T81" fmla="*/ 138 h 1345"/>
                <a:gd name="T82" fmla="*/ 959 w 1045"/>
                <a:gd name="T83" fmla="*/ 1250 h 1345"/>
                <a:gd name="T84" fmla="*/ 954 w 1045"/>
                <a:gd name="T85" fmla="*/ 1277 h 1345"/>
                <a:gd name="T86" fmla="*/ 941 w 1045"/>
                <a:gd name="T87" fmla="*/ 1300 h 1345"/>
                <a:gd name="T88" fmla="*/ 925 w 1045"/>
                <a:gd name="T89" fmla="*/ 1319 h 1345"/>
                <a:gd name="T90" fmla="*/ 904 w 1045"/>
                <a:gd name="T91" fmla="*/ 1333 h 1345"/>
                <a:gd name="T92" fmla="*/ 879 w 1045"/>
                <a:gd name="T93" fmla="*/ 1343 h 1345"/>
                <a:gd name="T94" fmla="*/ 853 w 1045"/>
                <a:gd name="T95" fmla="*/ 1345 h 1345"/>
                <a:gd name="T96" fmla="*/ 77 w 1045"/>
                <a:gd name="T97" fmla="*/ 1345 h 1345"/>
                <a:gd name="T98" fmla="*/ 52 w 1045"/>
                <a:gd name="T99" fmla="*/ 1341 h 1345"/>
                <a:gd name="T100" fmla="*/ 30 w 1045"/>
                <a:gd name="T101" fmla="*/ 1330 h 1345"/>
                <a:gd name="T102" fmla="*/ 15 w 1045"/>
                <a:gd name="T103" fmla="*/ 1315 h 1345"/>
                <a:gd name="T104" fmla="*/ 4 w 1045"/>
                <a:gd name="T105" fmla="*/ 1294 h 1345"/>
                <a:gd name="T106" fmla="*/ 0 w 1045"/>
                <a:gd name="T107" fmla="*/ 1271 h 1345"/>
                <a:gd name="T108" fmla="*/ 3 w 1045"/>
                <a:gd name="T109" fmla="*/ 1246 h 1345"/>
                <a:gd name="T110" fmla="*/ 131 w 1045"/>
                <a:gd name="T111" fmla="*/ 91 h 1345"/>
                <a:gd name="T112" fmla="*/ 141 w 1045"/>
                <a:gd name="T113" fmla="*/ 66 h 1345"/>
                <a:gd name="T114" fmla="*/ 156 w 1045"/>
                <a:gd name="T115" fmla="*/ 44 h 1345"/>
                <a:gd name="T116" fmla="*/ 176 w 1045"/>
                <a:gd name="T117" fmla="*/ 25 h 1345"/>
                <a:gd name="T118" fmla="*/ 200 w 1045"/>
                <a:gd name="T119" fmla="*/ 11 h 1345"/>
                <a:gd name="T120" fmla="*/ 226 w 1045"/>
                <a:gd name="T121" fmla="*/ 3 h 1345"/>
                <a:gd name="T122" fmla="*/ 254 w 1045"/>
                <a:gd name="T123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5" h="1345">
                  <a:moveTo>
                    <a:pt x="542" y="806"/>
                  </a:moveTo>
                  <a:lnTo>
                    <a:pt x="502" y="810"/>
                  </a:lnTo>
                  <a:lnTo>
                    <a:pt x="466" y="821"/>
                  </a:lnTo>
                  <a:lnTo>
                    <a:pt x="433" y="839"/>
                  </a:lnTo>
                  <a:lnTo>
                    <a:pt x="404" y="862"/>
                  </a:lnTo>
                  <a:lnTo>
                    <a:pt x="380" y="891"/>
                  </a:lnTo>
                  <a:lnTo>
                    <a:pt x="362" y="923"/>
                  </a:lnTo>
                  <a:lnTo>
                    <a:pt x="351" y="960"/>
                  </a:lnTo>
                  <a:lnTo>
                    <a:pt x="347" y="998"/>
                  </a:lnTo>
                  <a:lnTo>
                    <a:pt x="351" y="1037"/>
                  </a:lnTo>
                  <a:lnTo>
                    <a:pt x="362" y="1074"/>
                  </a:lnTo>
                  <a:lnTo>
                    <a:pt x="380" y="1107"/>
                  </a:lnTo>
                  <a:lnTo>
                    <a:pt x="404" y="1136"/>
                  </a:lnTo>
                  <a:lnTo>
                    <a:pt x="433" y="1159"/>
                  </a:lnTo>
                  <a:lnTo>
                    <a:pt x="466" y="1177"/>
                  </a:lnTo>
                  <a:lnTo>
                    <a:pt x="502" y="1188"/>
                  </a:lnTo>
                  <a:lnTo>
                    <a:pt x="542" y="1193"/>
                  </a:lnTo>
                  <a:lnTo>
                    <a:pt x="580" y="1188"/>
                  </a:lnTo>
                  <a:lnTo>
                    <a:pt x="616" y="1177"/>
                  </a:lnTo>
                  <a:lnTo>
                    <a:pt x="649" y="1159"/>
                  </a:lnTo>
                  <a:lnTo>
                    <a:pt x="678" y="1136"/>
                  </a:lnTo>
                  <a:lnTo>
                    <a:pt x="701" y="1107"/>
                  </a:lnTo>
                  <a:lnTo>
                    <a:pt x="719" y="1074"/>
                  </a:lnTo>
                  <a:lnTo>
                    <a:pt x="730" y="1037"/>
                  </a:lnTo>
                  <a:lnTo>
                    <a:pt x="735" y="998"/>
                  </a:lnTo>
                  <a:lnTo>
                    <a:pt x="730" y="960"/>
                  </a:lnTo>
                  <a:lnTo>
                    <a:pt x="719" y="923"/>
                  </a:lnTo>
                  <a:lnTo>
                    <a:pt x="701" y="891"/>
                  </a:lnTo>
                  <a:lnTo>
                    <a:pt x="678" y="862"/>
                  </a:lnTo>
                  <a:lnTo>
                    <a:pt x="649" y="839"/>
                  </a:lnTo>
                  <a:lnTo>
                    <a:pt x="616" y="821"/>
                  </a:lnTo>
                  <a:lnTo>
                    <a:pt x="580" y="810"/>
                  </a:lnTo>
                  <a:lnTo>
                    <a:pt x="542" y="806"/>
                  </a:lnTo>
                  <a:close/>
                  <a:moveTo>
                    <a:pt x="254" y="0"/>
                  </a:moveTo>
                  <a:lnTo>
                    <a:pt x="954" y="34"/>
                  </a:lnTo>
                  <a:lnTo>
                    <a:pt x="980" y="40"/>
                  </a:lnTo>
                  <a:lnTo>
                    <a:pt x="1002" y="51"/>
                  </a:lnTo>
                  <a:lnTo>
                    <a:pt x="1021" y="67"/>
                  </a:lnTo>
                  <a:lnTo>
                    <a:pt x="1035" y="88"/>
                  </a:lnTo>
                  <a:lnTo>
                    <a:pt x="1043" y="111"/>
                  </a:lnTo>
                  <a:lnTo>
                    <a:pt x="1045" y="138"/>
                  </a:lnTo>
                  <a:lnTo>
                    <a:pt x="959" y="1250"/>
                  </a:lnTo>
                  <a:lnTo>
                    <a:pt x="954" y="1277"/>
                  </a:lnTo>
                  <a:lnTo>
                    <a:pt x="941" y="1300"/>
                  </a:lnTo>
                  <a:lnTo>
                    <a:pt x="925" y="1319"/>
                  </a:lnTo>
                  <a:lnTo>
                    <a:pt x="904" y="1333"/>
                  </a:lnTo>
                  <a:lnTo>
                    <a:pt x="879" y="1343"/>
                  </a:lnTo>
                  <a:lnTo>
                    <a:pt x="853" y="1345"/>
                  </a:lnTo>
                  <a:lnTo>
                    <a:pt x="77" y="1345"/>
                  </a:lnTo>
                  <a:lnTo>
                    <a:pt x="52" y="1341"/>
                  </a:lnTo>
                  <a:lnTo>
                    <a:pt x="30" y="1330"/>
                  </a:lnTo>
                  <a:lnTo>
                    <a:pt x="15" y="1315"/>
                  </a:lnTo>
                  <a:lnTo>
                    <a:pt x="4" y="1294"/>
                  </a:lnTo>
                  <a:lnTo>
                    <a:pt x="0" y="1271"/>
                  </a:lnTo>
                  <a:lnTo>
                    <a:pt x="3" y="1246"/>
                  </a:lnTo>
                  <a:lnTo>
                    <a:pt x="131" y="91"/>
                  </a:lnTo>
                  <a:lnTo>
                    <a:pt x="141" y="66"/>
                  </a:lnTo>
                  <a:lnTo>
                    <a:pt x="156" y="44"/>
                  </a:lnTo>
                  <a:lnTo>
                    <a:pt x="176" y="25"/>
                  </a:lnTo>
                  <a:lnTo>
                    <a:pt x="200" y="11"/>
                  </a:lnTo>
                  <a:lnTo>
                    <a:pt x="226" y="3"/>
                  </a:lnTo>
                  <a:lnTo>
                    <a:pt x="2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96497"/>
                </a:solidFill>
                <a:latin typeface="Calibri" pitchFamily="34" charset="0"/>
              </a:endParaRPr>
            </a:p>
          </p:txBody>
        </p:sp>
      </p:grpSp>
      <p:grpSp>
        <p:nvGrpSpPr>
          <p:cNvPr id="97" name="Group 90"/>
          <p:cNvGrpSpPr>
            <a:grpSpLocks noChangeAspect="1"/>
          </p:cNvGrpSpPr>
          <p:nvPr/>
        </p:nvGrpSpPr>
        <p:grpSpPr bwMode="auto">
          <a:xfrm>
            <a:off x="6901054" y="1988840"/>
            <a:ext cx="707826" cy="843082"/>
            <a:chOff x="1593" y="1011"/>
            <a:chExt cx="2574" cy="2298"/>
          </a:xfrm>
          <a:noFill/>
        </p:grpSpPr>
        <p:sp>
          <p:nvSpPr>
            <p:cNvPr id="98" name="AutoShape 89"/>
            <p:cNvSpPr>
              <a:spLocks noChangeAspect="1" noChangeArrowheads="1" noTextEdit="1"/>
            </p:cNvSpPr>
            <p:nvPr/>
          </p:nvSpPr>
          <p:spPr bwMode="auto">
            <a:xfrm>
              <a:off x="1593" y="1011"/>
              <a:ext cx="2574" cy="229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99" name="Freeform 92"/>
            <p:cNvSpPr>
              <a:spLocks/>
            </p:cNvSpPr>
            <p:nvPr/>
          </p:nvSpPr>
          <p:spPr bwMode="auto">
            <a:xfrm>
              <a:off x="1593" y="1589"/>
              <a:ext cx="954" cy="751"/>
            </a:xfrm>
            <a:custGeom>
              <a:avLst/>
              <a:gdLst>
                <a:gd name="T0" fmla="*/ 374 w 1908"/>
                <a:gd name="T1" fmla="*/ 0 h 1502"/>
                <a:gd name="T2" fmla="*/ 409 w 1908"/>
                <a:gd name="T3" fmla="*/ 1 h 1502"/>
                <a:gd name="T4" fmla="*/ 444 w 1908"/>
                <a:gd name="T5" fmla="*/ 3 h 1502"/>
                <a:gd name="T6" fmla="*/ 477 w 1908"/>
                <a:gd name="T7" fmla="*/ 7 h 1502"/>
                <a:gd name="T8" fmla="*/ 477 w 1908"/>
                <a:gd name="T9" fmla="*/ 369 h 1502"/>
                <a:gd name="T10" fmla="*/ 444 w 1908"/>
                <a:gd name="T11" fmla="*/ 373 h 1502"/>
                <a:gd name="T12" fmla="*/ 409 w 1908"/>
                <a:gd name="T13" fmla="*/ 376 h 1502"/>
                <a:gd name="T14" fmla="*/ 374 w 1908"/>
                <a:gd name="T15" fmla="*/ 376 h 1502"/>
                <a:gd name="T16" fmla="*/ 341 w 1908"/>
                <a:gd name="T17" fmla="*/ 376 h 1502"/>
                <a:gd name="T18" fmla="*/ 310 w 1908"/>
                <a:gd name="T19" fmla="*/ 374 h 1502"/>
                <a:gd name="T20" fmla="*/ 279 w 1908"/>
                <a:gd name="T21" fmla="*/ 371 h 1502"/>
                <a:gd name="T22" fmla="*/ 250 w 1908"/>
                <a:gd name="T23" fmla="*/ 367 h 1502"/>
                <a:gd name="T24" fmla="*/ 221 w 1908"/>
                <a:gd name="T25" fmla="*/ 361 h 1502"/>
                <a:gd name="T26" fmla="*/ 194 w 1908"/>
                <a:gd name="T27" fmla="*/ 355 h 1502"/>
                <a:gd name="T28" fmla="*/ 168 w 1908"/>
                <a:gd name="T29" fmla="*/ 348 h 1502"/>
                <a:gd name="T30" fmla="*/ 144 w 1908"/>
                <a:gd name="T31" fmla="*/ 340 h 1502"/>
                <a:gd name="T32" fmla="*/ 120 w 1908"/>
                <a:gd name="T33" fmla="*/ 331 h 1502"/>
                <a:gd name="T34" fmla="*/ 99 w 1908"/>
                <a:gd name="T35" fmla="*/ 322 h 1502"/>
                <a:gd name="T36" fmla="*/ 80 w 1908"/>
                <a:gd name="T37" fmla="*/ 311 h 1502"/>
                <a:gd name="T38" fmla="*/ 62 w 1908"/>
                <a:gd name="T39" fmla="*/ 300 h 1502"/>
                <a:gd name="T40" fmla="*/ 46 w 1908"/>
                <a:gd name="T41" fmla="*/ 288 h 1502"/>
                <a:gd name="T42" fmla="*/ 33 w 1908"/>
                <a:gd name="T43" fmla="*/ 276 h 1502"/>
                <a:gd name="T44" fmla="*/ 21 w 1908"/>
                <a:gd name="T45" fmla="*/ 263 h 1502"/>
                <a:gd name="T46" fmla="*/ 12 w 1908"/>
                <a:gd name="T47" fmla="*/ 249 h 1502"/>
                <a:gd name="T48" fmla="*/ 6 w 1908"/>
                <a:gd name="T49" fmla="*/ 236 h 1502"/>
                <a:gd name="T50" fmla="*/ 2 w 1908"/>
                <a:gd name="T51" fmla="*/ 221 h 1502"/>
                <a:gd name="T52" fmla="*/ 0 w 1908"/>
                <a:gd name="T53" fmla="*/ 207 h 1502"/>
                <a:gd name="T54" fmla="*/ 0 w 1908"/>
                <a:gd name="T55" fmla="*/ 170 h 1502"/>
                <a:gd name="T56" fmla="*/ 2 w 1908"/>
                <a:gd name="T57" fmla="*/ 155 h 1502"/>
                <a:gd name="T58" fmla="*/ 6 w 1908"/>
                <a:gd name="T59" fmla="*/ 141 h 1502"/>
                <a:gd name="T60" fmla="*/ 12 w 1908"/>
                <a:gd name="T61" fmla="*/ 127 h 1502"/>
                <a:gd name="T62" fmla="*/ 21 w 1908"/>
                <a:gd name="T63" fmla="*/ 114 h 1502"/>
                <a:gd name="T64" fmla="*/ 33 w 1908"/>
                <a:gd name="T65" fmla="*/ 100 h 1502"/>
                <a:gd name="T66" fmla="*/ 46 w 1908"/>
                <a:gd name="T67" fmla="*/ 88 h 1502"/>
                <a:gd name="T68" fmla="*/ 62 w 1908"/>
                <a:gd name="T69" fmla="*/ 77 h 1502"/>
                <a:gd name="T70" fmla="*/ 80 w 1908"/>
                <a:gd name="T71" fmla="*/ 65 h 1502"/>
                <a:gd name="T72" fmla="*/ 99 w 1908"/>
                <a:gd name="T73" fmla="*/ 55 h 1502"/>
                <a:gd name="T74" fmla="*/ 120 w 1908"/>
                <a:gd name="T75" fmla="*/ 45 h 1502"/>
                <a:gd name="T76" fmla="*/ 144 w 1908"/>
                <a:gd name="T77" fmla="*/ 36 h 1502"/>
                <a:gd name="T78" fmla="*/ 168 w 1908"/>
                <a:gd name="T79" fmla="*/ 28 h 1502"/>
                <a:gd name="T80" fmla="*/ 194 w 1908"/>
                <a:gd name="T81" fmla="*/ 21 h 1502"/>
                <a:gd name="T82" fmla="*/ 221 w 1908"/>
                <a:gd name="T83" fmla="*/ 15 h 1502"/>
                <a:gd name="T84" fmla="*/ 250 w 1908"/>
                <a:gd name="T85" fmla="*/ 10 h 1502"/>
                <a:gd name="T86" fmla="*/ 279 w 1908"/>
                <a:gd name="T87" fmla="*/ 6 h 1502"/>
                <a:gd name="T88" fmla="*/ 310 w 1908"/>
                <a:gd name="T89" fmla="*/ 3 h 1502"/>
                <a:gd name="T90" fmla="*/ 341 w 1908"/>
                <a:gd name="T91" fmla="*/ 1 h 1502"/>
                <a:gd name="T92" fmla="*/ 374 w 1908"/>
                <a:gd name="T93" fmla="*/ 0 h 15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8" h="1502">
                  <a:moveTo>
                    <a:pt x="1493" y="0"/>
                  </a:moveTo>
                  <a:lnTo>
                    <a:pt x="1635" y="4"/>
                  </a:lnTo>
                  <a:lnTo>
                    <a:pt x="1774" y="11"/>
                  </a:lnTo>
                  <a:lnTo>
                    <a:pt x="1908" y="27"/>
                  </a:lnTo>
                  <a:lnTo>
                    <a:pt x="1908" y="1476"/>
                  </a:lnTo>
                  <a:lnTo>
                    <a:pt x="1774" y="1491"/>
                  </a:lnTo>
                  <a:lnTo>
                    <a:pt x="1635" y="1501"/>
                  </a:lnTo>
                  <a:lnTo>
                    <a:pt x="1493" y="1502"/>
                  </a:lnTo>
                  <a:lnTo>
                    <a:pt x="1363" y="1501"/>
                  </a:lnTo>
                  <a:lnTo>
                    <a:pt x="1239" y="1493"/>
                  </a:lnTo>
                  <a:lnTo>
                    <a:pt x="1115" y="1482"/>
                  </a:lnTo>
                  <a:lnTo>
                    <a:pt x="997" y="1465"/>
                  </a:lnTo>
                  <a:lnTo>
                    <a:pt x="883" y="1444"/>
                  </a:lnTo>
                  <a:lnTo>
                    <a:pt x="774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0" y="1324"/>
                  </a:lnTo>
                  <a:lnTo>
                    <a:pt x="395" y="1285"/>
                  </a:lnTo>
                  <a:lnTo>
                    <a:pt x="317" y="1243"/>
                  </a:lnTo>
                  <a:lnTo>
                    <a:pt x="246" y="1199"/>
                  </a:lnTo>
                  <a:lnTo>
                    <a:pt x="184" y="1151"/>
                  </a:lnTo>
                  <a:lnTo>
                    <a:pt x="129" y="1102"/>
                  </a:lnTo>
                  <a:lnTo>
                    <a:pt x="84" y="1051"/>
                  </a:lnTo>
                  <a:lnTo>
                    <a:pt x="48" y="996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6"/>
                  </a:lnTo>
                  <a:lnTo>
                    <a:pt x="0" y="677"/>
                  </a:lnTo>
                  <a:lnTo>
                    <a:pt x="6" y="619"/>
                  </a:lnTo>
                  <a:lnTo>
                    <a:pt x="22" y="561"/>
                  </a:lnTo>
                  <a:lnTo>
                    <a:pt x="48" y="507"/>
                  </a:lnTo>
                  <a:lnTo>
                    <a:pt x="84" y="454"/>
                  </a:lnTo>
                  <a:lnTo>
                    <a:pt x="129" y="400"/>
                  </a:lnTo>
                  <a:lnTo>
                    <a:pt x="184" y="352"/>
                  </a:lnTo>
                  <a:lnTo>
                    <a:pt x="246" y="305"/>
                  </a:lnTo>
                  <a:lnTo>
                    <a:pt x="317" y="260"/>
                  </a:lnTo>
                  <a:lnTo>
                    <a:pt x="395" y="218"/>
                  </a:lnTo>
                  <a:lnTo>
                    <a:pt x="480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4" y="83"/>
                  </a:lnTo>
                  <a:lnTo>
                    <a:pt x="883" y="58"/>
                  </a:lnTo>
                  <a:lnTo>
                    <a:pt x="997" y="38"/>
                  </a:lnTo>
                  <a:lnTo>
                    <a:pt x="1115" y="22"/>
                  </a:lnTo>
                  <a:lnTo>
                    <a:pt x="1239" y="10"/>
                  </a:lnTo>
                  <a:lnTo>
                    <a:pt x="1363" y="2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0" name="Freeform 93"/>
            <p:cNvSpPr>
              <a:spLocks/>
            </p:cNvSpPr>
            <p:nvPr/>
          </p:nvSpPr>
          <p:spPr bwMode="auto">
            <a:xfrm>
              <a:off x="1593" y="2237"/>
              <a:ext cx="954" cy="482"/>
            </a:xfrm>
            <a:custGeom>
              <a:avLst/>
              <a:gdLst>
                <a:gd name="T0" fmla="*/ 8 w 1908"/>
                <a:gd name="T1" fmla="*/ 0 h 964"/>
                <a:gd name="T2" fmla="*/ 16 w 1908"/>
                <a:gd name="T3" fmla="*/ 14 h 964"/>
                <a:gd name="T4" fmla="*/ 25 w 1908"/>
                <a:gd name="T5" fmla="*/ 27 h 964"/>
                <a:gd name="T6" fmla="*/ 37 w 1908"/>
                <a:gd name="T7" fmla="*/ 39 h 964"/>
                <a:gd name="T8" fmla="*/ 51 w 1908"/>
                <a:gd name="T9" fmla="*/ 51 h 964"/>
                <a:gd name="T10" fmla="*/ 67 w 1908"/>
                <a:gd name="T11" fmla="*/ 62 h 964"/>
                <a:gd name="T12" fmla="*/ 85 w 1908"/>
                <a:gd name="T13" fmla="*/ 73 h 964"/>
                <a:gd name="T14" fmla="*/ 104 w 1908"/>
                <a:gd name="T15" fmla="*/ 83 h 964"/>
                <a:gd name="T16" fmla="*/ 126 w 1908"/>
                <a:gd name="T17" fmla="*/ 92 h 964"/>
                <a:gd name="T18" fmla="*/ 148 w 1908"/>
                <a:gd name="T19" fmla="*/ 101 h 964"/>
                <a:gd name="T20" fmla="*/ 172 w 1908"/>
                <a:gd name="T21" fmla="*/ 109 h 964"/>
                <a:gd name="T22" fmla="*/ 198 w 1908"/>
                <a:gd name="T23" fmla="*/ 115 h 964"/>
                <a:gd name="T24" fmla="*/ 225 w 1908"/>
                <a:gd name="T25" fmla="*/ 121 h 964"/>
                <a:gd name="T26" fmla="*/ 253 w 1908"/>
                <a:gd name="T27" fmla="*/ 126 h 964"/>
                <a:gd name="T28" fmla="*/ 282 w 1908"/>
                <a:gd name="T29" fmla="*/ 130 h 964"/>
                <a:gd name="T30" fmla="*/ 311 w 1908"/>
                <a:gd name="T31" fmla="*/ 133 h 964"/>
                <a:gd name="T32" fmla="*/ 342 w 1908"/>
                <a:gd name="T33" fmla="*/ 135 h 964"/>
                <a:gd name="T34" fmla="*/ 374 w 1908"/>
                <a:gd name="T35" fmla="*/ 135 h 964"/>
                <a:gd name="T36" fmla="*/ 409 w 1908"/>
                <a:gd name="T37" fmla="*/ 134 h 964"/>
                <a:gd name="T38" fmla="*/ 444 w 1908"/>
                <a:gd name="T39" fmla="*/ 132 h 964"/>
                <a:gd name="T40" fmla="*/ 477 w 1908"/>
                <a:gd name="T41" fmla="*/ 129 h 964"/>
                <a:gd name="T42" fmla="*/ 477 w 1908"/>
                <a:gd name="T43" fmla="*/ 235 h 964"/>
                <a:gd name="T44" fmla="*/ 444 w 1908"/>
                <a:gd name="T45" fmla="*/ 238 h 964"/>
                <a:gd name="T46" fmla="*/ 409 w 1908"/>
                <a:gd name="T47" fmla="*/ 241 h 964"/>
                <a:gd name="T48" fmla="*/ 374 w 1908"/>
                <a:gd name="T49" fmla="*/ 241 h 964"/>
                <a:gd name="T50" fmla="*/ 341 w 1908"/>
                <a:gd name="T51" fmla="*/ 241 h 964"/>
                <a:gd name="T52" fmla="*/ 310 w 1908"/>
                <a:gd name="T53" fmla="*/ 239 h 964"/>
                <a:gd name="T54" fmla="*/ 279 w 1908"/>
                <a:gd name="T55" fmla="*/ 236 h 964"/>
                <a:gd name="T56" fmla="*/ 250 w 1908"/>
                <a:gd name="T57" fmla="*/ 232 h 964"/>
                <a:gd name="T58" fmla="*/ 221 w 1908"/>
                <a:gd name="T59" fmla="*/ 227 h 964"/>
                <a:gd name="T60" fmla="*/ 194 w 1908"/>
                <a:gd name="T61" fmla="*/ 220 h 964"/>
                <a:gd name="T62" fmla="*/ 168 w 1908"/>
                <a:gd name="T63" fmla="*/ 213 h 964"/>
                <a:gd name="T64" fmla="*/ 144 w 1908"/>
                <a:gd name="T65" fmla="*/ 205 h 964"/>
                <a:gd name="T66" fmla="*/ 120 w 1908"/>
                <a:gd name="T67" fmla="*/ 196 h 964"/>
                <a:gd name="T68" fmla="*/ 99 w 1908"/>
                <a:gd name="T69" fmla="*/ 187 h 964"/>
                <a:gd name="T70" fmla="*/ 80 w 1908"/>
                <a:gd name="T71" fmla="*/ 176 h 964"/>
                <a:gd name="T72" fmla="*/ 62 w 1908"/>
                <a:gd name="T73" fmla="*/ 165 h 964"/>
                <a:gd name="T74" fmla="*/ 46 w 1908"/>
                <a:gd name="T75" fmla="*/ 154 h 964"/>
                <a:gd name="T76" fmla="*/ 33 w 1908"/>
                <a:gd name="T77" fmla="*/ 141 h 964"/>
                <a:gd name="T78" fmla="*/ 21 w 1908"/>
                <a:gd name="T79" fmla="*/ 128 h 964"/>
                <a:gd name="T80" fmla="*/ 12 w 1908"/>
                <a:gd name="T81" fmla="*/ 115 h 964"/>
                <a:gd name="T82" fmla="*/ 6 w 1908"/>
                <a:gd name="T83" fmla="*/ 101 h 964"/>
                <a:gd name="T84" fmla="*/ 2 w 1908"/>
                <a:gd name="T85" fmla="*/ 86 h 964"/>
                <a:gd name="T86" fmla="*/ 0 w 1908"/>
                <a:gd name="T87" fmla="*/ 72 h 964"/>
                <a:gd name="T88" fmla="*/ 0 w 1908"/>
                <a:gd name="T89" fmla="*/ 35 h 964"/>
                <a:gd name="T90" fmla="*/ 1 w 1908"/>
                <a:gd name="T91" fmla="*/ 23 h 964"/>
                <a:gd name="T92" fmla="*/ 4 w 1908"/>
                <a:gd name="T93" fmla="*/ 12 h 964"/>
                <a:gd name="T94" fmla="*/ 8 w 1908"/>
                <a:gd name="T95" fmla="*/ 0 h 96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908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7" y="155"/>
                  </a:lnTo>
                  <a:lnTo>
                    <a:pt x="203" y="203"/>
                  </a:lnTo>
                  <a:lnTo>
                    <a:pt x="267" y="248"/>
                  </a:lnTo>
                  <a:lnTo>
                    <a:pt x="337" y="291"/>
                  </a:lnTo>
                  <a:lnTo>
                    <a:pt x="415" y="331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59"/>
                  </a:lnTo>
                  <a:lnTo>
                    <a:pt x="897" y="483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7"/>
                  </a:lnTo>
                  <a:lnTo>
                    <a:pt x="1908" y="513"/>
                  </a:lnTo>
                  <a:lnTo>
                    <a:pt x="1908" y="938"/>
                  </a:lnTo>
                  <a:lnTo>
                    <a:pt x="1774" y="952"/>
                  </a:lnTo>
                  <a:lnTo>
                    <a:pt x="1635" y="961"/>
                  </a:lnTo>
                  <a:lnTo>
                    <a:pt x="1493" y="964"/>
                  </a:lnTo>
                  <a:lnTo>
                    <a:pt x="1363" y="961"/>
                  </a:lnTo>
                  <a:lnTo>
                    <a:pt x="1239" y="955"/>
                  </a:lnTo>
                  <a:lnTo>
                    <a:pt x="1115" y="942"/>
                  </a:lnTo>
                  <a:lnTo>
                    <a:pt x="997" y="925"/>
                  </a:lnTo>
                  <a:lnTo>
                    <a:pt x="883" y="905"/>
                  </a:lnTo>
                  <a:lnTo>
                    <a:pt x="774" y="880"/>
                  </a:lnTo>
                  <a:lnTo>
                    <a:pt x="671" y="852"/>
                  </a:lnTo>
                  <a:lnTo>
                    <a:pt x="573" y="820"/>
                  </a:lnTo>
                  <a:lnTo>
                    <a:pt x="480" y="784"/>
                  </a:lnTo>
                  <a:lnTo>
                    <a:pt x="395" y="745"/>
                  </a:lnTo>
                  <a:lnTo>
                    <a:pt x="317" y="703"/>
                  </a:lnTo>
                  <a:lnTo>
                    <a:pt x="246" y="659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1" name="Freeform 94"/>
            <p:cNvSpPr>
              <a:spLocks/>
            </p:cNvSpPr>
            <p:nvPr/>
          </p:nvSpPr>
          <p:spPr bwMode="auto">
            <a:xfrm>
              <a:off x="1593" y="2615"/>
              <a:ext cx="982" cy="482"/>
            </a:xfrm>
            <a:custGeom>
              <a:avLst/>
              <a:gdLst>
                <a:gd name="T0" fmla="*/ 8 w 1964"/>
                <a:gd name="T1" fmla="*/ 0 h 964"/>
                <a:gd name="T2" fmla="*/ 16 w 1964"/>
                <a:gd name="T3" fmla="*/ 14 h 964"/>
                <a:gd name="T4" fmla="*/ 25 w 1964"/>
                <a:gd name="T5" fmla="*/ 27 h 964"/>
                <a:gd name="T6" fmla="*/ 37 w 1964"/>
                <a:gd name="T7" fmla="*/ 40 h 964"/>
                <a:gd name="T8" fmla="*/ 51 w 1964"/>
                <a:gd name="T9" fmla="*/ 51 h 964"/>
                <a:gd name="T10" fmla="*/ 67 w 1964"/>
                <a:gd name="T11" fmla="*/ 63 h 964"/>
                <a:gd name="T12" fmla="*/ 85 w 1964"/>
                <a:gd name="T13" fmla="*/ 73 h 964"/>
                <a:gd name="T14" fmla="*/ 104 w 1964"/>
                <a:gd name="T15" fmla="*/ 83 h 964"/>
                <a:gd name="T16" fmla="*/ 126 w 1964"/>
                <a:gd name="T17" fmla="*/ 93 h 964"/>
                <a:gd name="T18" fmla="*/ 148 w 1964"/>
                <a:gd name="T19" fmla="*/ 101 h 964"/>
                <a:gd name="T20" fmla="*/ 172 w 1964"/>
                <a:gd name="T21" fmla="*/ 109 h 964"/>
                <a:gd name="T22" fmla="*/ 198 w 1964"/>
                <a:gd name="T23" fmla="*/ 115 h 964"/>
                <a:gd name="T24" fmla="*/ 225 w 1964"/>
                <a:gd name="T25" fmla="*/ 122 h 964"/>
                <a:gd name="T26" fmla="*/ 253 w 1964"/>
                <a:gd name="T27" fmla="*/ 126 h 964"/>
                <a:gd name="T28" fmla="*/ 282 w 1964"/>
                <a:gd name="T29" fmla="*/ 130 h 964"/>
                <a:gd name="T30" fmla="*/ 311 w 1964"/>
                <a:gd name="T31" fmla="*/ 133 h 964"/>
                <a:gd name="T32" fmla="*/ 342 w 1964"/>
                <a:gd name="T33" fmla="*/ 135 h 964"/>
                <a:gd name="T34" fmla="*/ 374 w 1964"/>
                <a:gd name="T35" fmla="*/ 135 h 964"/>
                <a:gd name="T36" fmla="*/ 409 w 1964"/>
                <a:gd name="T37" fmla="*/ 134 h 964"/>
                <a:gd name="T38" fmla="*/ 444 w 1964"/>
                <a:gd name="T39" fmla="*/ 132 h 964"/>
                <a:gd name="T40" fmla="*/ 477 w 1964"/>
                <a:gd name="T41" fmla="*/ 129 h 964"/>
                <a:gd name="T42" fmla="*/ 477 w 1964"/>
                <a:gd name="T43" fmla="*/ 174 h 964"/>
                <a:gd name="T44" fmla="*/ 479 w 1964"/>
                <a:gd name="T45" fmla="*/ 189 h 964"/>
                <a:gd name="T46" fmla="*/ 481 w 1964"/>
                <a:gd name="T47" fmla="*/ 204 h 964"/>
                <a:gd name="T48" fmla="*/ 485 w 1964"/>
                <a:gd name="T49" fmla="*/ 219 h 964"/>
                <a:gd name="T50" fmla="*/ 491 w 1964"/>
                <a:gd name="T51" fmla="*/ 233 h 964"/>
                <a:gd name="T52" fmla="*/ 463 w 1964"/>
                <a:gd name="T53" fmla="*/ 237 h 964"/>
                <a:gd name="T54" fmla="*/ 434 w 1964"/>
                <a:gd name="T55" fmla="*/ 240 h 964"/>
                <a:gd name="T56" fmla="*/ 404 w 1964"/>
                <a:gd name="T57" fmla="*/ 241 h 964"/>
                <a:gd name="T58" fmla="*/ 374 w 1964"/>
                <a:gd name="T59" fmla="*/ 241 h 964"/>
                <a:gd name="T60" fmla="*/ 341 w 1964"/>
                <a:gd name="T61" fmla="*/ 241 h 964"/>
                <a:gd name="T62" fmla="*/ 310 w 1964"/>
                <a:gd name="T63" fmla="*/ 239 h 964"/>
                <a:gd name="T64" fmla="*/ 279 w 1964"/>
                <a:gd name="T65" fmla="*/ 236 h 964"/>
                <a:gd name="T66" fmla="*/ 250 w 1964"/>
                <a:gd name="T67" fmla="*/ 232 h 964"/>
                <a:gd name="T68" fmla="*/ 221 w 1964"/>
                <a:gd name="T69" fmla="*/ 227 h 964"/>
                <a:gd name="T70" fmla="*/ 194 w 1964"/>
                <a:gd name="T71" fmla="*/ 221 h 964"/>
                <a:gd name="T72" fmla="*/ 168 w 1964"/>
                <a:gd name="T73" fmla="*/ 214 h 964"/>
                <a:gd name="T74" fmla="*/ 144 w 1964"/>
                <a:gd name="T75" fmla="*/ 206 h 964"/>
                <a:gd name="T76" fmla="*/ 120 w 1964"/>
                <a:gd name="T77" fmla="*/ 197 h 964"/>
                <a:gd name="T78" fmla="*/ 99 w 1964"/>
                <a:gd name="T79" fmla="*/ 187 h 964"/>
                <a:gd name="T80" fmla="*/ 80 w 1964"/>
                <a:gd name="T81" fmla="*/ 177 h 964"/>
                <a:gd name="T82" fmla="*/ 62 w 1964"/>
                <a:gd name="T83" fmla="*/ 165 h 964"/>
                <a:gd name="T84" fmla="*/ 46 w 1964"/>
                <a:gd name="T85" fmla="*/ 154 h 964"/>
                <a:gd name="T86" fmla="*/ 33 w 1964"/>
                <a:gd name="T87" fmla="*/ 141 h 964"/>
                <a:gd name="T88" fmla="*/ 21 w 1964"/>
                <a:gd name="T89" fmla="*/ 128 h 964"/>
                <a:gd name="T90" fmla="*/ 12 w 1964"/>
                <a:gd name="T91" fmla="*/ 115 h 964"/>
                <a:gd name="T92" fmla="*/ 6 w 1964"/>
                <a:gd name="T93" fmla="*/ 101 h 964"/>
                <a:gd name="T94" fmla="*/ 2 w 1964"/>
                <a:gd name="T95" fmla="*/ 87 h 964"/>
                <a:gd name="T96" fmla="*/ 0 w 1964"/>
                <a:gd name="T97" fmla="*/ 72 h 964"/>
                <a:gd name="T98" fmla="*/ 0 w 1964"/>
                <a:gd name="T99" fmla="*/ 35 h 964"/>
                <a:gd name="T100" fmla="*/ 1 w 1964"/>
                <a:gd name="T101" fmla="*/ 23 h 964"/>
                <a:gd name="T102" fmla="*/ 4 w 1964"/>
                <a:gd name="T103" fmla="*/ 12 h 964"/>
                <a:gd name="T104" fmla="*/ 8 w 1964"/>
                <a:gd name="T105" fmla="*/ 0 h 9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64" h="964">
                  <a:moveTo>
                    <a:pt x="31" y="0"/>
                  </a:moveTo>
                  <a:lnTo>
                    <a:pt x="61" y="55"/>
                  </a:lnTo>
                  <a:lnTo>
                    <a:pt x="100" y="107"/>
                  </a:lnTo>
                  <a:lnTo>
                    <a:pt x="147" y="157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7" y="291"/>
                  </a:lnTo>
                  <a:lnTo>
                    <a:pt x="415" y="332"/>
                  </a:lnTo>
                  <a:lnTo>
                    <a:pt x="501" y="369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60"/>
                  </a:lnTo>
                  <a:lnTo>
                    <a:pt x="897" y="485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8"/>
                  </a:lnTo>
                  <a:lnTo>
                    <a:pt x="1908" y="513"/>
                  </a:lnTo>
                  <a:lnTo>
                    <a:pt x="1908" y="694"/>
                  </a:lnTo>
                  <a:lnTo>
                    <a:pt x="1913" y="755"/>
                  </a:lnTo>
                  <a:lnTo>
                    <a:pt x="1922" y="814"/>
                  </a:lnTo>
                  <a:lnTo>
                    <a:pt x="1939" y="874"/>
                  </a:lnTo>
                  <a:lnTo>
                    <a:pt x="1964" y="930"/>
                  </a:lnTo>
                  <a:lnTo>
                    <a:pt x="1850" y="946"/>
                  </a:lnTo>
                  <a:lnTo>
                    <a:pt x="1735" y="957"/>
                  </a:lnTo>
                  <a:lnTo>
                    <a:pt x="1615" y="963"/>
                  </a:lnTo>
                  <a:lnTo>
                    <a:pt x="1493" y="964"/>
                  </a:lnTo>
                  <a:lnTo>
                    <a:pt x="1363" y="963"/>
                  </a:lnTo>
                  <a:lnTo>
                    <a:pt x="1239" y="955"/>
                  </a:lnTo>
                  <a:lnTo>
                    <a:pt x="1115" y="943"/>
                  </a:lnTo>
                  <a:lnTo>
                    <a:pt x="997" y="927"/>
                  </a:lnTo>
                  <a:lnTo>
                    <a:pt x="883" y="907"/>
                  </a:lnTo>
                  <a:lnTo>
                    <a:pt x="774" y="882"/>
                  </a:lnTo>
                  <a:lnTo>
                    <a:pt x="671" y="854"/>
                  </a:lnTo>
                  <a:lnTo>
                    <a:pt x="573" y="821"/>
                  </a:lnTo>
                  <a:lnTo>
                    <a:pt x="480" y="785"/>
                  </a:lnTo>
                  <a:lnTo>
                    <a:pt x="395" y="747"/>
                  </a:lnTo>
                  <a:lnTo>
                    <a:pt x="317" y="705"/>
                  </a:lnTo>
                  <a:lnTo>
                    <a:pt x="246" y="660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2" name="Freeform 95"/>
            <p:cNvSpPr>
              <a:spLocks/>
            </p:cNvSpPr>
            <p:nvPr/>
          </p:nvSpPr>
          <p:spPr bwMode="auto">
            <a:xfrm>
              <a:off x="2669" y="1015"/>
              <a:ext cx="1493" cy="752"/>
            </a:xfrm>
            <a:custGeom>
              <a:avLst/>
              <a:gdLst>
                <a:gd name="T0" fmla="*/ 406 w 2986"/>
                <a:gd name="T1" fmla="*/ 1 h 1503"/>
                <a:gd name="T2" fmla="*/ 468 w 2986"/>
                <a:gd name="T3" fmla="*/ 6 h 1503"/>
                <a:gd name="T4" fmla="*/ 526 w 2986"/>
                <a:gd name="T5" fmla="*/ 15 h 1503"/>
                <a:gd name="T6" fmla="*/ 579 w 2986"/>
                <a:gd name="T7" fmla="*/ 28 h 1503"/>
                <a:gd name="T8" fmla="*/ 627 w 2986"/>
                <a:gd name="T9" fmla="*/ 45 h 1503"/>
                <a:gd name="T10" fmla="*/ 667 w 2986"/>
                <a:gd name="T11" fmla="*/ 65 h 1503"/>
                <a:gd name="T12" fmla="*/ 701 w 2986"/>
                <a:gd name="T13" fmla="*/ 88 h 1503"/>
                <a:gd name="T14" fmla="*/ 726 w 2986"/>
                <a:gd name="T15" fmla="*/ 114 h 1503"/>
                <a:gd name="T16" fmla="*/ 741 w 2986"/>
                <a:gd name="T17" fmla="*/ 141 h 1503"/>
                <a:gd name="T18" fmla="*/ 747 w 2986"/>
                <a:gd name="T19" fmla="*/ 170 h 1503"/>
                <a:gd name="T20" fmla="*/ 745 w 2986"/>
                <a:gd name="T21" fmla="*/ 221 h 1503"/>
                <a:gd name="T22" fmla="*/ 735 w 2986"/>
                <a:gd name="T23" fmla="*/ 249 h 1503"/>
                <a:gd name="T24" fmla="*/ 715 w 2986"/>
                <a:gd name="T25" fmla="*/ 276 h 1503"/>
                <a:gd name="T26" fmla="*/ 685 w 2986"/>
                <a:gd name="T27" fmla="*/ 300 h 1503"/>
                <a:gd name="T28" fmla="*/ 648 w 2986"/>
                <a:gd name="T29" fmla="*/ 321 h 1503"/>
                <a:gd name="T30" fmla="*/ 604 w 2986"/>
                <a:gd name="T31" fmla="*/ 340 h 1503"/>
                <a:gd name="T32" fmla="*/ 553 w 2986"/>
                <a:gd name="T33" fmla="*/ 355 h 1503"/>
                <a:gd name="T34" fmla="*/ 497 w 2986"/>
                <a:gd name="T35" fmla="*/ 366 h 1503"/>
                <a:gd name="T36" fmla="*/ 437 w 2986"/>
                <a:gd name="T37" fmla="*/ 373 h 1503"/>
                <a:gd name="T38" fmla="*/ 374 w 2986"/>
                <a:gd name="T39" fmla="*/ 376 h 1503"/>
                <a:gd name="T40" fmla="*/ 310 w 2986"/>
                <a:gd name="T41" fmla="*/ 373 h 1503"/>
                <a:gd name="T42" fmla="*/ 250 w 2986"/>
                <a:gd name="T43" fmla="*/ 366 h 1503"/>
                <a:gd name="T44" fmla="*/ 194 w 2986"/>
                <a:gd name="T45" fmla="*/ 355 h 1503"/>
                <a:gd name="T46" fmla="*/ 144 w 2986"/>
                <a:gd name="T47" fmla="*/ 340 h 1503"/>
                <a:gd name="T48" fmla="*/ 99 w 2986"/>
                <a:gd name="T49" fmla="*/ 321 h 1503"/>
                <a:gd name="T50" fmla="*/ 62 w 2986"/>
                <a:gd name="T51" fmla="*/ 300 h 1503"/>
                <a:gd name="T52" fmla="*/ 33 w 2986"/>
                <a:gd name="T53" fmla="*/ 276 h 1503"/>
                <a:gd name="T54" fmla="*/ 13 w 2986"/>
                <a:gd name="T55" fmla="*/ 249 h 1503"/>
                <a:gd name="T56" fmla="*/ 2 w 2986"/>
                <a:gd name="T57" fmla="*/ 221 h 1503"/>
                <a:gd name="T58" fmla="*/ 0 w 2986"/>
                <a:gd name="T59" fmla="*/ 170 h 1503"/>
                <a:gd name="T60" fmla="*/ 6 w 2986"/>
                <a:gd name="T61" fmla="*/ 141 h 1503"/>
                <a:gd name="T62" fmla="*/ 21 w 2986"/>
                <a:gd name="T63" fmla="*/ 114 h 1503"/>
                <a:gd name="T64" fmla="*/ 46 w 2986"/>
                <a:gd name="T65" fmla="*/ 88 h 1503"/>
                <a:gd name="T66" fmla="*/ 80 w 2986"/>
                <a:gd name="T67" fmla="*/ 65 h 1503"/>
                <a:gd name="T68" fmla="*/ 121 w 2986"/>
                <a:gd name="T69" fmla="*/ 45 h 1503"/>
                <a:gd name="T70" fmla="*/ 168 w 2986"/>
                <a:gd name="T71" fmla="*/ 28 h 1503"/>
                <a:gd name="T72" fmla="*/ 222 w 2986"/>
                <a:gd name="T73" fmla="*/ 15 h 1503"/>
                <a:gd name="T74" fmla="*/ 280 w 2986"/>
                <a:gd name="T75" fmla="*/ 6 h 1503"/>
                <a:gd name="T76" fmla="*/ 341 w 2986"/>
                <a:gd name="T77" fmla="*/ 1 h 150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986" h="1503">
                  <a:moveTo>
                    <a:pt x="1493" y="0"/>
                  </a:moveTo>
                  <a:lnTo>
                    <a:pt x="1623" y="1"/>
                  </a:lnTo>
                  <a:lnTo>
                    <a:pt x="1747" y="9"/>
                  </a:lnTo>
                  <a:lnTo>
                    <a:pt x="1869" y="22"/>
                  </a:lnTo>
                  <a:lnTo>
                    <a:pt x="1988" y="37"/>
                  </a:lnTo>
                  <a:lnTo>
                    <a:pt x="2102" y="58"/>
                  </a:lnTo>
                  <a:lnTo>
                    <a:pt x="2211" y="83"/>
                  </a:lnTo>
                  <a:lnTo>
                    <a:pt x="2315" y="111"/>
                  </a:lnTo>
                  <a:lnTo>
                    <a:pt x="2414" y="144"/>
                  </a:lnTo>
                  <a:lnTo>
                    <a:pt x="2506" y="180"/>
                  </a:lnTo>
                  <a:lnTo>
                    <a:pt x="2590" y="217"/>
                  </a:lnTo>
                  <a:lnTo>
                    <a:pt x="2668" y="259"/>
                  </a:lnTo>
                  <a:lnTo>
                    <a:pt x="2740" y="305"/>
                  </a:lnTo>
                  <a:lnTo>
                    <a:pt x="2802" y="351"/>
                  </a:lnTo>
                  <a:lnTo>
                    <a:pt x="2857" y="401"/>
                  </a:lnTo>
                  <a:lnTo>
                    <a:pt x="2902" y="453"/>
                  </a:lnTo>
                  <a:lnTo>
                    <a:pt x="2938" y="506"/>
                  </a:lnTo>
                  <a:lnTo>
                    <a:pt x="2964" y="562"/>
                  </a:lnTo>
                  <a:lnTo>
                    <a:pt x="2980" y="619"/>
                  </a:lnTo>
                  <a:lnTo>
                    <a:pt x="2986" y="678"/>
                  </a:lnTo>
                  <a:lnTo>
                    <a:pt x="2986" y="825"/>
                  </a:lnTo>
                  <a:lnTo>
                    <a:pt x="2980" y="883"/>
                  </a:lnTo>
                  <a:lnTo>
                    <a:pt x="2964" y="941"/>
                  </a:lnTo>
                  <a:lnTo>
                    <a:pt x="2938" y="995"/>
                  </a:lnTo>
                  <a:lnTo>
                    <a:pt x="2902" y="1050"/>
                  </a:lnTo>
                  <a:lnTo>
                    <a:pt x="2857" y="1102"/>
                  </a:lnTo>
                  <a:lnTo>
                    <a:pt x="2802" y="1150"/>
                  </a:lnTo>
                  <a:lnTo>
                    <a:pt x="2740" y="1198"/>
                  </a:lnTo>
                  <a:lnTo>
                    <a:pt x="2668" y="1242"/>
                  </a:lnTo>
                  <a:lnTo>
                    <a:pt x="2590" y="1284"/>
                  </a:lnTo>
                  <a:lnTo>
                    <a:pt x="2506" y="1323"/>
                  </a:lnTo>
                  <a:lnTo>
                    <a:pt x="2414" y="1358"/>
                  </a:lnTo>
                  <a:lnTo>
                    <a:pt x="2315" y="1391"/>
                  </a:lnTo>
                  <a:lnTo>
                    <a:pt x="2211" y="1419"/>
                  </a:lnTo>
                  <a:lnTo>
                    <a:pt x="2102" y="1444"/>
                  </a:lnTo>
                  <a:lnTo>
                    <a:pt x="1988" y="1464"/>
                  </a:lnTo>
                  <a:lnTo>
                    <a:pt x="1869" y="1481"/>
                  </a:lnTo>
                  <a:lnTo>
                    <a:pt x="1747" y="1492"/>
                  </a:lnTo>
                  <a:lnTo>
                    <a:pt x="1623" y="1500"/>
                  </a:lnTo>
                  <a:lnTo>
                    <a:pt x="1493" y="1503"/>
                  </a:lnTo>
                  <a:lnTo>
                    <a:pt x="1364" y="1500"/>
                  </a:lnTo>
                  <a:lnTo>
                    <a:pt x="1239" y="1492"/>
                  </a:lnTo>
                  <a:lnTo>
                    <a:pt x="1117" y="1481"/>
                  </a:lnTo>
                  <a:lnTo>
                    <a:pt x="999" y="1464"/>
                  </a:lnTo>
                  <a:lnTo>
                    <a:pt x="885" y="1444"/>
                  </a:lnTo>
                  <a:lnTo>
                    <a:pt x="776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1" y="1323"/>
                  </a:lnTo>
                  <a:lnTo>
                    <a:pt x="396" y="1284"/>
                  </a:lnTo>
                  <a:lnTo>
                    <a:pt x="318" y="1242"/>
                  </a:lnTo>
                  <a:lnTo>
                    <a:pt x="247" y="1198"/>
                  </a:lnTo>
                  <a:lnTo>
                    <a:pt x="184" y="1150"/>
                  </a:lnTo>
                  <a:lnTo>
                    <a:pt x="130" y="1102"/>
                  </a:lnTo>
                  <a:lnTo>
                    <a:pt x="84" y="1050"/>
                  </a:lnTo>
                  <a:lnTo>
                    <a:pt x="49" y="995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5"/>
                  </a:lnTo>
                  <a:lnTo>
                    <a:pt x="0" y="678"/>
                  </a:lnTo>
                  <a:lnTo>
                    <a:pt x="6" y="619"/>
                  </a:lnTo>
                  <a:lnTo>
                    <a:pt x="22" y="562"/>
                  </a:lnTo>
                  <a:lnTo>
                    <a:pt x="49" y="506"/>
                  </a:lnTo>
                  <a:lnTo>
                    <a:pt x="84" y="453"/>
                  </a:lnTo>
                  <a:lnTo>
                    <a:pt x="130" y="401"/>
                  </a:lnTo>
                  <a:lnTo>
                    <a:pt x="184" y="351"/>
                  </a:lnTo>
                  <a:lnTo>
                    <a:pt x="247" y="305"/>
                  </a:lnTo>
                  <a:lnTo>
                    <a:pt x="318" y="259"/>
                  </a:lnTo>
                  <a:lnTo>
                    <a:pt x="396" y="217"/>
                  </a:lnTo>
                  <a:lnTo>
                    <a:pt x="481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6" y="83"/>
                  </a:lnTo>
                  <a:lnTo>
                    <a:pt x="885" y="58"/>
                  </a:lnTo>
                  <a:lnTo>
                    <a:pt x="999" y="37"/>
                  </a:lnTo>
                  <a:lnTo>
                    <a:pt x="1117" y="22"/>
                  </a:lnTo>
                  <a:lnTo>
                    <a:pt x="1239" y="9"/>
                  </a:lnTo>
                  <a:lnTo>
                    <a:pt x="1364" y="1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>
                <a:solidFill>
                  <a:srgbClr val="C43D59"/>
                </a:solidFill>
              </a:endParaRPr>
            </a:p>
          </p:txBody>
        </p:sp>
        <p:sp>
          <p:nvSpPr>
            <p:cNvPr id="103" name="Freeform 96"/>
            <p:cNvSpPr>
              <a:spLocks/>
            </p:cNvSpPr>
            <p:nvPr/>
          </p:nvSpPr>
          <p:spPr bwMode="auto">
            <a:xfrm>
              <a:off x="2669" y="1663"/>
              <a:ext cx="1493" cy="482"/>
            </a:xfrm>
            <a:custGeom>
              <a:avLst/>
              <a:gdLst>
                <a:gd name="T0" fmla="*/ 16 w 2986"/>
                <a:gd name="T1" fmla="*/ 13 h 965"/>
                <a:gd name="T2" fmla="*/ 37 w 2986"/>
                <a:gd name="T3" fmla="*/ 38 h 965"/>
                <a:gd name="T4" fmla="*/ 67 w 2986"/>
                <a:gd name="T5" fmla="*/ 62 h 965"/>
                <a:gd name="T6" fmla="*/ 105 w 2986"/>
                <a:gd name="T7" fmla="*/ 83 h 965"/>
                <a:gd name="T8" fmla="*/ 148 w 2986"/>
                <a:gd name="T9" fmla="*/ 100 h 965"/>
                <a:gd name="T10" fmla="*/ 198 w 2986"/>
                <a:gd name="T11" fmla="*/ 115 h 965"/>
                <a:gd name="T12" fmla="*/ 253 w 2986"/>
                <a:gd name="T13" fmla="*/ 126 h 965"/>
                <a:gd name="T14" fmla="*/ 312 w 2986"/>
                <a:gd name="T15" fmla="*/ 132 h 965"/>
                <a:gd name="T16" fmla="*/ 374 w 2986"/>
                <a:gd name="T17" fmla="*/ 134 h 965"/>
                <a:gd name="T18" fmla="*/ 436 w 2986"/>
                <a:gd name="T19" fmla="*/ 132 h 965"/>
                <a:gd name="T20" fmla="*/ 495 w 2986"/>
                <a:gd name="T21" fmla="*/ 126 h 965"/>
                <a:gd name="T22" fmla="*/ 549 w 2986"/>
                <a:gd name="T23" fmla="*/ 115 h 965"/>
                <a:gd name="T24" fmla="*/ 599 w 2986"/>
                <a:gd name="T25" fmla="*/ 100 h 965"/>
                <a:gd name="T26" fmla="*/ 643 w 2986"/>
                <a:gd name="T27" fmla="*/ 83 h 965"/>
                <a:gd name="T28" fmla="*/ 680 w 2986"/>
                <a:gd name="T29" fmla="*/ 62 h 965"/>
                <a:gd name="T30" fmla="*/ 710 w 2986"/>
                <a:gd name="T31" fmla="*/ 38 h 965"/>
                <a:gd name="T32" fmla="*/ 732 w 2986"/>
                <a:gd name="T33" fmla="*/ 13 h 965"/>
                <a:gd name="T34" fmla="*/ 743 w 2986"/>
                <a:gd name="T35" fmla="*/ 11 h 965"/>
                <a:gd name="T36" fmla="*/ 747 w 2986"/>
                <a:gd name="T37" fmla="*/ 34 h 965"/>
                <a:gd name="T38" fmla="*/ 745 w 2986"/>
                <a:gd name="T39" fmla="*/ 86 h 965"/>
                <a:gd name="T40" fmla="*/ 735 w 2986"/>
                <a:gd name="T41" fmla="*/ 114 h 965"/>
                <a:gd name="T42" fmla="*/ 715 w 2986"/>
                <a:gd name="T43" fmla="*/ 140 h 965"/>
                <a:gd name="T44" fmla="*/ 685 w 2986"/>
                <a:gd name="T45" fmla="*/ 165 h 965"/>
                <a:gd name="T46" fmla="*/ 648 w 2986"/>
                <a:gd name="T47" fmla="*/ 186 h 965"/>
                <a:gd name="T48" fmla="*/ 604 w 2986"/>
                <a:gd name="T49" fmla="*/ 205 h 965"/>
                <a:gd name="T50" fmla="*/ 553 w 2986"/>
                <a:gd name="T51" fmla="*/ 220 h 965"/>
                <a:gd name="T52" fmla="*/ 497 w 2986"/>
                <a:gd name="T53" fmla="*/ 231 h 965"/>
                <a:gd name="T54" fmla="*/ 437 w 2986"/>
                <a:gd name="T55" fmla="*/ 238 h 965"/>
                <a:gd name="T56" fmla="*/ 374 w 2986"/>
                <a:gd name="T57" fmla="*/ 241 h 965"/>
                <a:gd name="T58" fmla="*/ 310 w 2986"/>
                <a:gd name="T59" fmla="*/ 238 h 965"/>
                <a:gd name="T60" fmla="*/ 250 w 2986"/>
                <a:gd name="T61" fmla="*/ 231 h 965"/>
                <a:gd name="T62" fmla="*/ 194 w 2986"/>
                <a:gd name="T63" fmla="*/ 220 h 965"/>
                <a:gd name="T64" fmla="*/ 144 w 2986"/>
                <a:gd name="T65" fmla="*/ 205 h 965"/>
                <a:gd name="T66" fmla="*/ 99 w 2986"/>
                <a:gd name="T67" fmla="*/ 186 h 965"/>
                <a:gd name="T68" fmla="*/ 62 w 2986"/>
                <a:gd name="T69" fmla="*/ 165 h 965"/>
                <a:gd name="T70" fmla="*/ 33 w 2986"/>
                <a:gd name="T71" fmla="*/ 140 h 965"/>
                <a:gd name="T72" fmla="*/ 13 w 2986"/>
                <a:gd name="T73" fmla="*/ 114 h 965"/>
                <a:gd name="T74" fmla="*/ 2 w 2986"/>
                <a:gd name="T75" fmla="*/ 86 h 965"/>
                <a:gd name="T76" fmla="*/ 0 w 2986"/>
                <a:gd name="T77" fmla="*/ 34 h 965"/>
                <a:gd name="T78" fmla="*/ 4 w 2986"/>
                <a:gd name="T79" fmla="*/ 11 h 96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5">
                  <a:moveTo>
                    <a:pt x="31" y="0"/>
                  </a:moveTo>
                  <a:lnTo>
                    <a:pt x="61" y="53"/>
                  </a:lnTo>
                  <a:lnTo>
                    <a:pt x="100" y="107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8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4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4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8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7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3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5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3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4" name="Freeform 97"/>
            <p:cNvSpPr>
              <a:spLocks/>
            </p:cNvSpPr>
            <p:nvPr/>
          </p:nvSpPr>
          <p:spPr bwMode="auto">
            <a:xfrm>
              <a:off x="2669" y="2042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91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2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8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8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2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91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7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3"/>
                  </a:lnTo>
                  <a:lnTo>
                    <a:pt x="1747" y="954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4"/>
                  </a:lnTo>
                  <a:lnTo>
                    <a:pt x="1117" y="943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7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5" name="Freeform 98"/>
            <p:cNvSpPr>
              <a:spLocks/>
            </p:cNvSpPr>
            <p:nvPr/>
          </p:nvSpPr>
          <p:spPr bwMode="auto">
            <a:xfrm>
              <a:off x="2669" y="2440"/>
              <a:ext cx="1493" cy="482"/>
            </a:xfrm>
            <a:custGeom>
              <a:avLst/>
              <a:gdLst>
                <a:gd name="T0" fmla="*/ 16 w 2986"/>
                <a:gd name="T1" fmla="*/ 14 h 964"/>
                <a:gd name="T2" fmla="*/ 37 w 2986"/>
                <a:gd name="T3" fmla="*/ 39 h 964"/>
                <a:gd name="T4" fmla="*/ 67 w 2986"/>
                <a:gd name="T5" fmla="*/ 63 h 964"/>
                <a:gd name="T6" fmla="*/ 105 w 2986"/>
                <a:gd name="T7" fmla="*/ 83 h 964"/>
                <a:gd name="T8" fmla="*/ 148 w 2986"/>
                <a:gd name="T9" fmla="*/ 101 h 964"/>
                <a:gd name="T10" fmla="*/ 198 w 2986"/>
                <a:gd name="T11" fmla="*/ 115 h 964"/>
                <a:gd name="T12" fmla="*/ 253 w 2986"/>
                <a:gd name="T13" fmla="*/ 126 h 964"/>
                <a:gd name="T14" fmla="*/ 312 w 2986"/>
                <a:gd name="T15" fmla="*/ 133 h 964"/>
                <a:gd name="T16" fmla="*/ 374 w 2986"/>
                <a:gd name="T17" fmla="*/ 135 h 964"/>
                <a:gd name="T18" fmla="*/ 436 w 2986"/>
                <a:gd name="T19" fmla="*/ 133 h 964"/>
                <a:gd name="T20" fmla="*/ 495 w 2986"/>
                <a:gd name="T21" fmla="*/ 126 h 964"/>
                <a:gd name="T22" fmla="*/ 549 w 2986"/>
                <a:gd name="T23" fmla="*/ 115 h 964"/>
                <a:gd name="T24" fmla="*/ 599 w 2986"/>
                <a:gd name="T25" fmla="*/ 101 h 964"/>
                <a:gd name="T26" fmla="*/ 643 w 2986"/>
                <a:gd name="T27" fmla="*/ 83 h 964"/>
                <a:gd name="T28" fmla="*/ 680 w 2986"/>
                <a:gd name="T29" fmla="*/ 63 h 964"/>
                <a:gd name="T30" fmla="*/ 710 w 2986"/>
                <a:gd name="T31" fmla="*/ 39 h 964"/>
                <a:gd name="T32" fmla="*/ 732 w 2986"/>
                <a:gd name="T33" fmla="*/ 14 h 964"/>
                <a:gd name="T34" fmla="*/ 743 w 2986"/>
                <a:gd name="T35" fmla="*/ 12 h 964"/>
                <a:gd name="T36" fmla="*/ 747 w 2986"/>
                <a:gd name="T37" fmla="*/ 35 h 964"/>
                <a:gd name="T38" fmla="*/ 745 w 2986"/>
                <a:gd name="T39" fmla="*/ 87 h 964"/>
                <a:gd name="T40" fmla="*/ 735 w 2986"/>
                <a:gd name="T41" fmla="*/ 115 h 964"/>
                <a:gd name="T42" fmla="*/ 715 w 2986"/>
                <a:gd name="T43" fmla="*/ 141 h 964"/>
                <a:gd name="T44" fmla="*/ 685 w 2986"/>
                <a:gd name="T45" fmla="*/ 165 h 964"/>
                <a:gd name="T46" fmla="*/ 648 w 2986"/>
                <a:gd name="T47" fmla="*/ 187 h 964"/>
                <a:gd name="T48" fmla="*/ 604 w 2986"/>
                <a:gd name="T49" fmla="*/ 206 h 964"/>
                <a:gd name="T50" fmla="*/ 553 w 2986"/>
                <a:gd name="T51" fmla="*/ 221 h 964"/>
                <a:gd name="T52" fmla="*/ 497 w 2986"/>
                <a:gd name="T53" fmla="*/ 232 h 964"/>
                <a:gd name="T54" fmla="*/ 437 w 2986"/>
                <a:gd name="T55" fmla="*/ 239 h 964"/>
                <a:gd name="T56" fmla="*/ 374 w 2986"/>
                <a:gd name="T57" fmla="*/ 241 h 964"/>
                <a:gd name="T58" fmla="*/ 310 w 2986"/>
                <a:gd name="T59" fmla="*/ 239 h 964"/>
                <a:gd name="T60" fmla="*/ 250 w 2986"/>
                <a:gd name="T61" fmla="*/ 232 h 964"/>
                <a:gd name="T62" fmla="*/ 194 w 2986"/>
                <a:gd name="T63" fmla="*/ 221 h 964"/>
                <a:gd name="T64" fmla="*/ 144 w 2986"/>
                <a:gd name="T65" fmla="*/ 206 h 964"/>
                <a:gd name="T66" fmla="*/ 99 w 2986"/>
                <a:gd name="T67" fmla="*/ 187 h 964"/>
                <a:gd name="T68" fmla="*/ 62 w 2986"/>
                <a:gd name="T69" fmla="*/ 165 h 964"/>
                <a:gd name="T70" fmla="*/ 33 w 2986"/>
                <a:gd name="T71" fmla="*/ 141 h 964"/>
                <a:gd name="T72" fmla="*/ 13 w 2986"/>
                <a:gd name="T73" fmla="*/ 115 h 964"/>
                <a:gd name="T74" fmla="*/ 2 w 2986"/>
                <a:gd name="T75" fmla="*/ 87 h 964"/>
                <a:gd name="T76" fmla="*/ 0 w 2986"/>
                <a:gd name="T77" fmla="*/ 35 h 964"/>
                <a:gd name="T78" fmla="*/ 4 w 2986"/>
                <a:gd name="T79" fmla="*/ 12 h 9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3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3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2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4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06" name="Freeform 99"/>
            <p:cNvSpPr>
              <a:spLocks/>
            </p:cNvSpPr>
            <p:nvPr/>
          </p:nvSpPr>
          <p:spPr bwMode="auto">
            <a:xfrm>
              <a:off x="2669" y="2819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89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1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7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7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1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89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5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6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3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1"/>
                  </a:lnTo>
                  <a:lnTo>
                    <a:pt x="1747" y="953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3"/>
                  </a:lnTo>
                  <a:lnTo>
                    <a:pt x="1117" y="941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3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6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</p:grpSp>
      <p:sp>
        <p:nvSpPr>
          <p:cNvPr id="107" name="TextBox 12"/>
          <p:cNvSpPr txBox="1">
            <a:spLocks noChangeArrowheads="1"/>
          </p:cNvSpPr>
          <p:nvPr/>
        </p:nvSpPr>
        <p:spPr bwMode="auto">
          <a:xfrm>
            <a:off x="6815471" y="3504187"/>
            <a:ext cx="1584068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2000" b="1">
                <a:ln>
                  <a:solidFill>
                    <a:srgbClr val="255286"/>
                  </a:solidFill>
                </a:ln>
                <a:solidFill>
                  <a:srgbClr val="255286"/>
                </a:solidFill>
                <a:latin typeface="Calibri Light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uk-UA" dirty="0"/>
              <a:t>ОБСЯГ СУБВЕНЦІЇ ДЛЯ ОТГ</a:t>
            </a:r>
          </a:p>
        </p:txBody>
      </p:sp>
      <p:sp>
        <p:nvSpPr>
          <p:cNvPr id="108" name="Плюс 107"/>
          <p:cNvSpPr/>
          <p:nvPr/>
        </p:nvSpPr>
        <p:spPr bwMode="auto">
          <a:xfrm>
            <a:off x="4282635" y="2422740"/>
            <a:ext cx="405000" cy="540000"/>
          </a:xfrm>
          <a:prstGeom prst="mathPlus">
            <a:avLst/>
          </a:prstGeom>
          <a:solidFill>
            <a:srgbClr val="2552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09" name="Равно 108"/>
          <p:cNvSpPr/>
          <p:nvPr/>
        </p:nvSpPr>
        <p:spPr bwMode="auto">
          <a:xfrm>
            <a:off x="6165764" y="2470363"/>
            <a:ext cx="486000" cy="468000"/>
          </a:xfrm>
          <a:prstGeom prst="mathEqual">
            <a:avLst/>
          </a:prstGeom>
          <a:solidFill>
            <a:srgbClr val="2552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92344" y="1916834"/>
            <a:ext cx="194421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uk-UA" sz="1600" b="1" dirty="0" smtClean="0">
              <a:solidFill>
                <a:srgbClr val="255286"/>
              </a:solidFill>
              <a:latin typeface="Calibri Light" pitchFamily="34" charset="0"/>
            </a:endParaRPr>
          </a:p>
          <a:p>
            <a:pPr algn="ctr"/>
            <a:r>
              <a:rPr lang="uk-UA" sz="1600" b="1" dirty="0" smtClean="0">
                <a:solidFill>
                  <a:srgbClr val="255286"/>
                </a:solidFill>
                <a:latin typeface="Calibri" panose="020F0502020204030204" pitchFamily="34" charset="0"/>
              </a:rPr>
              <a:t>ЧИМ </a:t>
            </a:r>
            <a:r>
              <a:rPr lang="uk-UA" sz="1600" b="1" dirty="0">
                <a:solidFill>
                  <a:srgbClr val="255286"/>
                </a:solidFill>
                <a:latin typeface="Calibri" panose="020F0502020204030204" pitchFamily="34" charset="0"/>
              </a:rPr>
              <a:t>БІЛЬША КІЛЬКІСТЬ СІЛЬСЬКИХ ЖИТЕЛІВ ТА ПЛОЩА ТЕРИТОРІЇ </a:t>
            </a:r>
          </a:p>
          <a:p>
            <a:pPr algn="ctr"/>
            <a:r>
              <a:rPr lang="uk-UA" sz="1600" b="1" dirty="0">
                <a:solidFill>
                  <a:srgbClr val="255286"/>
                </a:solidFill>
                <a:latin typeface="Calibri" panose="020F0502020204030204" pitchFamily="34" charset="0"/>
              </a:rPr>
              <a:t>ТИМ БІЛЬШИЙ ОБСЯГ СУБВЕНЦІЇ ОТ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646630" y="5017532"/>
            <a:ext cx="198323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200" b="1" dirty="0">
                <a:solidFill>
                  <a:srgbClr val="C43D59"/>
                </a:solidFill>
                <a:latin typeface="Calibri" panose="020F0502020204030204" pitchFamily="34" charset="0"/>
              </a:rPr>
              <a:t>23</a:t>
            </a:r>
            <a:r>
              <a:rPr lang="uk-UA" sz="2000" b="1" dirty="0">
                <a:solidFill>
                  <a:srgbClr val="C43D59"/>
                </a:solidFill>
                <a:latin typeface="Calibri" panose="020F0502020204030204" pitchFamily="34" charset="0"/>
              </a:rPr>
              <a:t> млн. грн</a:t>
            </a:r>
            <a:r>
              <a:rPr lang="uk-UA" b="1" dirty="0">
                <a:solidFill>
                  <a:srgbClr val="C43D59"/>
                </a:solidFill>
                <a:latin typeface="Calibri" panose="020F0502020204030204" pitchFamily="34" charset="0"/>
              </a:rPr>
              <a:t>. –</a:t>
            </a:r>
          </a:p>
          <a:p>
            <a:pPr algn="ctr"/>
            <a:r>
              <a:rPr lang="uk-UA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НАЙБІЛЬША СУБВЕНЦІЯ   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408764" y="5017532"/>
            <a:ext cx="292534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200" b="1" dirty="0">
                <a:solidFill>
                  <a:srgbClr val="C43D59"/>
                </a:solidFill>
                <a:latin typeface="Calibri" panose="020F0502020204030204" pitchFamily="34" charset="0"/>
              </a:rPr>
              <a:t>950</a:t>
            </a:r>
            <a:r>
              <a:rPr lang="uk-UA" sz="2000" b="1" dirty="0">
                <a:solidFill>
                  <a:srgbClr val="C43D59"/>
                </a:solidFill>
                <a:latin typeface="Calibri" panose="020F0502020204030204" pitchFamily="34" charset="0"/>
              </a:rPr>
              <a:t> тис. грн. –</a:t>
            </a:r>
          </a:p>
          <a:p>
            <a:pPr algn="ctr"/>
            <a:r>
              <a:rPr lang="uk-UA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НАЙМЕНША</a:t>
            </a:r>
          </a:p>
          <a:p>
            <a:pPr algn="ctr"/>
            <a:r>
              <a:rPr lang="uk-UA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uk-UA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СУБВЕНЦІЯ</a:t>
            </a:r>
          </a:p>
        </p:txBody>
      </p:sp>
    </p:spTree>
    <p:extLst>
      <p:ext uri="{BB962C8B-B14F-4D97-AF65-F5344CB8AC3E}">
        <p14:creationId xmlns:p14="http://schemas.microsoft.com/office/powerpoint/2010/main" val="396775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1487488" y="44625"/>
            <a:ext cx="9865096" cy="720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РОЗПОДІЛ </a:t>
            </a:r>
            <a:r>
              <a:rPr lang="uk-UA" altLang="ru-RU" sz="2100" b="1" dirty="0" smtClean="0">
                <a:solidFill>
                  <a:srgbClr val="4F81BD"/>
                </a:solidFill>
                <a:latin typeface="Calibri" pitchFamily="34" charset="0"/>
              </a:rPr>
              <a:t> СУБВЕНЦІЇ  МІЖ  ОБ’ЄДНАНИМИ  </a:t>
            </a: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ТЕРИТОРІАЛЬНИМИ </a:t>
            </a:r>
            <a:r>
              <a:rPr lang="uk-UA" altLang="ru-RU" sz="2100" b="1" dirty="0" smtClean="0">
                <a:solidFill>
                  <a:srgbClr val="4F81BD"/>
                </a:solidFill>
                <a:latin typeface="Calibri" pitchFamily="34" charset="0"/>
              </a:rPr>
              <a:t> ГРОМАДАМИ </a:t>
            </a:r>
            <a:br>
              <a:rPr lang="uk-UA" altLang="ru-RU" sz="2100" b="1" dirty="0" smtClean="0">
                <a:solidFill>
                  <a:srgbClr val="4F81BD"/>
                </a:solidFill>
                <a:latin typeface="Calibri" pitchFamily="34" charset="0"/>
              </a:rPr>
            </a:br>
            <a:r>
              <a:rPr lang="uk-UA" altLang="ru-RU" sz="2100" b="1" dirty="0" smtClean="0">
                <a:solidFill>
                  <a:srgbClr val="4F81BD"/>
                </a:solidFill>
                <a:latin typeface="Calibri" pitchFamily="34" charset="0"/>
              </a:rPr>
              <a:t>В  РОЗРІЗІ  </a:t>
            </a: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ОБЛАСТЕЙ</a:t>
            </a:r>
            <a:endParaRPr lang="uk-UA" altLang="ru-RU" sz="210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2390776" y="404814"/>
            <a:ext cx="7305675" cy="4752975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2770">
                  <a:defRPr/>
                </a:pPr>
                <a:endParaRPr lang="uk-UA" sz="11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5" y="401446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2770">
                  <a:defRPr/>
                </a:pPr>
                <a:endParaRPr lang="uk-UA" sz="1100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8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112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100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1000" u="sng" dirty="0">
                <a:solidFill>
                  <a:prstClr val="black"/>
                </a:solidFill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3578156" y="2060848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3467101" y="1268760"/>
            <a:ext cx="80128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4182504" y="1326021"/>
            <a:ext cx="80128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676026" y="1628800"/>
            <a:ext cx="914769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2279577" y="2564904"/>
            <a:ext cx="914769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3802614" y="2852997"/>
            <a:ext cx="914769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3168132" y="2540325"/>
            <a:ext cx="914769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2990464" y="1844824"/>
            <a:ext cx="80128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4170184" y="2204925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839768" y="2492896"/>
            <a:ext cx="1005676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інницька</a:t>
            </a:r>
          </a:p>
          <a:p>
            <a:pPr defTabSz="912770">
              <a:defRPr/>
            </a:pPr>
            <a:endParaRPr lang="uk-UA" sz="900" dirty="0">
              <a:solidFill>
                <a:prstClr val="black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cs typeface="Arial" pitchFamily="34" charset="0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5519936" y="1556792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5994332" y="2420949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5343824" y="3284984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5991896" y="3284984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6816080" y="3573016"/>
            <a:ext cx="1005676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ерсонська</a:t>
            </a:r>
          </a:p>
          <a:p>
            <a:pPr defTabSz="912770">
              <a:defRPr/>
            </a:pPr>
            <a:endParaRPr lang="uk-UA" sz="900" dirty="0">
              <a:solidFill>
                <a:prstClr val="black"/>
              </a:solidFill>
              <a:effectLst>
                <a:glow rad="101600">
                  <a:prstClr val="white">
                    <a:alpha val="60000"/>
                  </a:prstClr>
                </a:glow>
              </a:effectLst>
              <a:cs typeface="Arial" pitchFamily="34" charset="0"/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7752184" y="3284984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6005154" y="2838128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7171302" y="2636912"/>
            <a:ext cx="115694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6672064" y="1916832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Полта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5973816" y="1196752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6816080" y="1196752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7869520" y="2132856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8832304" y="2204864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8389940" y="2708920"/>
            <a:ext cx="1106800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5879976" y="1929084"/>
            <a:ext cx="1005676" cy="2308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2770">
              <a:defRPr/>
            </a:pPr>
            <a:r>
              <a: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. Київ</a:t>
            </a:r>
          </a:p>
        </p:txBody>
      </p:sp>
      <p:sp>
        <p:nvSpPr>
          <p:cNvPr id="99" name="Прямоугольник 181"/>
          <p:cNvSpPr/>
          <p:nvPr/>
        </p:nvSpPr>
        <p:spPr>
          <a:xfrm>
            <a:off x="3359696" y="2888969"/>
            <a:ext cx="540000" cy="23852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3 (16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55" name="Прямоугольник 181"/>
          <p:cNvSpPr/>
          <p:nvPr/>
        </p:nvSpPr>
        <p:spPr>
          <a:xfrm>
            <a:off x="5447928" y="3501008"/>
            <a:ext cx="540000" cy="23381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8 (40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56" name="Прямоугольник 181"/>
          <p:cNvSpPr/>
          <p:nvPr/>
        </p:nvSpPr>
        <p:spPr>
          <a:xfrm>
            <a:off x="6816080" y="2132788"/>
            <a:ext cx="540000" cy="19036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2 (44) 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62" name="Прямоугольник 181"/>
          <p:cNvSpPr/>
          <p:nvPr/>
        </p:nvSpPr>
        <p:spPr>
          <a:xfrm>
            <a:off x="4259998" y="2420949"/>
            <a:ext cx="614303" cy="2261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2 (213) </a:t>
            </a:r>
            <a:endParaRPr lang="ru-RU" sz="1000" dirty="0">
              <a:solidFill>
                <a:prstClr val="white"/>
              </a:solidFill>
            </a:endParaRPr>
          </a:p>
        </p:txBody>
      </p:sp>
      <p:graphicFrame>
        <p:nvGraphicFramePr>
          <p:cNvPr id="194" name="Table 194"/>
          <p:cNvGraphicFramePr>
            <a:graphicFrameLocks noGrp="1"/>
          </p:cNvGraphicFramePr>
          <p:nvPr>
            <p:extLst/>
          </p:nvPr>
        </p:nvGraphicFramePr>
        <p:xfrm>
          <a:off x="1926266" y="5423739"/>
          <a:ext cx="8346198" cy="11016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054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407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1581"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>
                          <a:latin typeface="Calibri" panose="020F0502020204030204" pitchFamily="34" charset="0"/>
                        </a:rPr>
                        <a:t>159</a:t>
                      </a:r>
                      <a:endParaRPr lang="uk-UA" sz="1300" noProof="0" dirty="0">
                        <a:latin typeface="Calibri" panose="020F0502020204030204" pitchFamily="34" charset="0"/>
                      </a:endParaRP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3F6">
                        <a:alpha val="5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200" noProof="0" dirty="0">
                          <a:latin typeface="Calibri" panose="020F0502020204030204" pitchFamily="34" charset="0"/>
                        </a:rPr>
                        <a:t>Об'єднані</a:t>
                      </a:r>
                      <a:r>
                        <a:rPr lang="uk-UA" sz="1200" baseline="0" noProof="0" dirty="0">
                          <a:latin typeface="Calibri" panose="020F0502020204030204" pitchFamily="34" charset="0"/>
                        </a:rPr>
                        <a:t> громади в яких проведено перші місцеві вибори у 2015 році</a:t>
                      </a:r>
                      <a:endParaRPr lang="uk-UA" sz="1200" noProof="0" dirty="0">
                        <a:latin typeface="Calibri" panose="020F0502020204030204" pitchFamily="34" charset="0"/>
                      </a:endParaRP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1581">
                <a:tc>
                  <a:txBody>
                    <a:bodyPr/>
                    <a:lstStyle/>
                    <a:p>
                      <a:pPr algn="ctr"/>
                      <a:r>
                        <a:rPr lang="uk-UA" sz="1300" noProof="0" dirty="0">
                          <a:latin typeface="Calibri" panose="020F0502020204030204" pitchFamily="34" charset="0"/>
                        </a:rPr>
                        <a:t>(794)</a:t>
                      </a: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3F6">
                        <a:alpha val="5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200" noProof="0" dirty="0">
                          <a:latin typeface="Calibri" panose="020F0502020204030204" pitchFamily="34" charset="0"/>
                        </a:rPr>
                        <a:t>Територіальні</a:t>
                      </a:r>
                      <a:r>
                        <a:rPr lang="uk-UA" sz="1200" baseline="0" noProof="0" dirty="0">
                          <a:latin typeface="Calibri" panose="020F0502020204030204" pitchFamily="34" charset="0"/>
                        </a:rPr>
                        <a:t> громади, які об'єдналися у 2015 році</a:t>
                      </a:r>
                      <a:endParaRPr lang="uk-UA" sz="1200" noProof="0" dirty="0">
                        <a:latin typeface="Calibri" panose="020F0502020204030204" pitchFamily="34" charset="0"/>
                      </a:endParaRP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8443">
                <a:tc>
                  <a:txBody>
                    <a:bodyPr/>
                    <a:lstStyle/>
                    <a:p>
                      <a:pPr algn="ctr"/>
                      <a:r>
                        <a:rPr lang="uk-UA" sz="1200" noProof="0" dirty="0">
                          <a:latin typeface="Calibri" panose="020F0502020204030204" pitchFamily="34" charset="0"/>
                        </a:rPr>
                        <a:t>1 000 000,0 тис. грн.</a:t>
                      </a: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  <a:alpha val="5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200" noProof="0" dirty="0">
                          <a:latin typeface="Calibri" panose="020F0502020204030204" pitchFamily="34" charset="0"/>
                        </a:rPr>
                        <a:t>Субвенція </a:t>
                      </a:r>
                      <a:r>
                        <a:rPr lang="ru-RU" sz="1200" noProof="0" dirty="0">
                          <a:latin typeface="Calibri" panose="020F0502020204030204" pitchFamily="34" charset="0"/>
                        </a:rPr>
                        <a:t>на формування інфраструктури об’єднаних територіальних громад </a:t>
                      </a:r>
                      <a:r>
                        <a:rPr lang="uk-UA" sz="1200" noProof="0" dirty="0">
                          <a:latin typeface="Calibri" panose="020F0502020204030204" pitchFamily="34" charset="0"/>
                        </a:rPr>
                        <a:t>в розрізі областей</a:t>
                      </a:r>
                    </a:p>
                  </a:txBody>
                  <a:tcPr marL="91435" marR="914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88" name="Прямоугольник 181"/>
          <p:cNvSpPr/>
          <p:nvPr/>
        </p:nvSpPr>
        <p:spPr>
          <a:xfrm>
            <a:off x="3467103" y="1448809"/>
            <a:ext cx="613739" cy="18949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5 (22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89" name="Прямоугольник 181"/>
          <p:cNvSpPr/>
          <p:nvPr/>
        </p:nvSpPr>
        <p:spPr>
          <a:xfrm>
            <a:off x="7052950" y="2901241"/>
            <a:ext cx="643594" cy="20369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5 (43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0" name="Прямоугольник 181"/>
          <p:cNvSpPr/>
          <p:nvPr/>
        </p:nvSpPr>
        <p:spPr>
          <a:xfrm>
            <a:off x="4823105" y="1808848"/>
            <a:ext cx="599687" cy="16759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9 (49)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1" name="Прямоугольник 181"/>
          <p:cNvSpPr/>
          <p:nvPr/>
        </p:nvSpPr>
        <p:spPr>
          <a:xfrm>
            <a:off x="6312437" y="3008232"/>
            <a:ext cx="550916" cy="15547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6)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2" name="Прямоугольник 181"/>
          <p:cNvSpPr/>
          <p:nvPr/>
        </p:nvSpPr>
        <p:spPr>
          <a:xfrm>
            <a:off x="3961462" y="3032985"/>
            <a:ext cx="572797" cy="1890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0 (29)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3" name="Прямоугольник 181"/>
          <p:cNvSpPr/>
          <p:nvPr/>
        </p:nvSpPr>
        <p:spPr>
          <a:xfrm>
            <a:off x="7861322" y="3501008"/>
            <a:ext cx="528619" cy="1440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6 (21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94" name="Прямоугольник 181"/>
          <p:cNvSpPr/>
          <p:nvPr/>
        </p:nvSpPr>
        <p:spPr>
          <a:xfrm>
            <a:off x="8508328" y="2924945"/>
            <a:ext cx="540000" cy="20255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3 (20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336" name="Прямоугольник 181"/>
          <p:cNvSpPr/>
          <p:nvPr/>
        </p:nvSpPr>
        <p:spPr>
          <a:xfrm>
            <a:off x="2567608" y="2780928"/>
            <a:ext cx="540000" cy="25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6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338" name="Прямоугольник 181"/>
          <p:cNvSpPr/>
          <p:nvPr/>
        </p:nvSpPr>
        <p:spPr>
          <a:xfrm>
            <a:off x="8935356" y="2420889"/>
            <a:ext cx="561384" cy="18297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10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339" name="Прямоугольник 181"/>
          <p:cNvSpPr/>
          <p:nvPr/>
        </p:nvSpPr>
        <p:spPr>
          <a:xfrm>
            <a:off x="3071728" y="2060849"/>
            <a:ext cx="576000" cy="21972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5 (46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340" name="Прямоугольник 181"/>
          <p:cNvSpPr/>
          <p:nvPr/>
        </p:nvSpPr>
        <p:spPr>
          <a:xfrm>
            <a:off x="3647729" y="2266261"/>
            <a:ext cx="575999" cy="19217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900" dirty="0">
                <a:solidFill>
                  <a:prstClr val="white"/>
                </a:solidFill>
              </a:rPr>
              <a:t>26 (166) </a:t>
            </a: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152" name="Прямоугольник 181"/>
          <p:cNvSpPr/>
          <p:nvPr/>
        </p:nvSpPr>
        <p:spPr>
          <a:xfrm>
            <a:off x="4910695" y="2699094"/>
            <a:ext cx="540000" cy="1798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2 (4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53" name="Прямоугольник 181"/>
          <p:cNvSpPr/>
          <p:nvPr/>
        </p:nvSpPr>
        <p:spPr>
          <a:xfrm>
            <a:off x="5500959" y="2132788"/>
            <a:ext cx="558977" cy="1900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 (4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54" name="Прямоугольник 181"/>
          <p:cNvSpPr/>
          <p:nvPr/>
        </p:nvSpPr>
        <p:spPr>
          <a:xfrm>
            <a:off x="6261100" y="3501008"/>
            <a:ext cx="503634" cy="2012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 (2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59" name="Прямоугольник 181"/>
          <p:cNvSpPr/>
          <p:nvPr/>
        </p:nvSpPr>
        <p:spPr>
          <a:xfrm>
            <a:off x="4082902" y="1560508"/>
            <a:ext cx="634481" cy="2123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5 (13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60" name="Прямоугольник 181"/>
          <p:cNvSpPr/>
          <p:nvPr/>
        </p:nvSpPr>
        <p:spPr>
          <a:xfrm>
            <a:off x="6888088" y="1448808"/>
            <a:ext cx="540000" cy="223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 (8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61" name="Прямоугольник 181"/>
          <p:cNvSpPr/>
          <p:nvPr/>
        </p:nvSpPr>
        <p:spPr>
          <a:xfrm>
            <a:off x="6982183" y="3789040"/>
            <a:ext cx="540000" cy="2051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1 (4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64" name="Прямоугольник 181"/>
          <p:cNvSpPr/>
          <p:nvPr/>
        </p:nvSpPr>
        <p:spPr>
          <a:xfrm>
            <a:off x="5966578" y="2597207"/>
            <a:ext cx="560639" cy="18874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3 (8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91" name="Прямоугольник 181"/>
          <p:cNvSpPr/>
          <p:nvPr/>
        </p:nvSpPr>
        <p:spPr>
          <a:xfrm>
            <a:off x="6150979" y="1412776"/>
            <a:ext cx="553896" cy="252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prstClr val="white"/>
                </a:solidFill>
              </a:rPr>
              <a:t>5 (19) </a:t>
            </a:r>
            <a:endParaRPr lang="ru-RU" sz="1000" dirty="0">
              <a:solidFill>
                <a:prstClr val="white"/>
              </a:solidFill>
            </a:endParaRPr>
          </a:p>
        </p:txBody>
      </p:sp>
      <p:sp>
        <p:nvSpPr>
          <p:cNvPr id="106" name="Прямоугольник 181"/>
          <p:cNvSpPr/>
          <p:nvPr/>
        </p:nvSpPr>
        <p:spPr>
          <a:xfrm>
            <a:off x="3467102" y="1621131"/>
            <a:ext cx="61374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26537,2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7" name="Прямоугольник 181"/>
          <p:cNvSpPr/>
          <p:nvPr/>
        </p:nvSpPr>
        <p:spPr>
          <a:xfrm>
            <a:off x="7086080" y="3068961"/>
            <a:ext cx="610302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102086,7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8" name="Прямоугольник 181"/>
          <p:cNvSpPr/>
          <p:nvPr/>
        </p:nvSpPr>
        <p:spPr>
          <a:xfrm>
            <a:off x="4839769" y="1949754"/>
            <a:ext cx="583023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54571,0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9" name="Прямоугольник 181"/>
          <p:cNvSpPr/>
          <p:nvPr/>
        </p:nvSpPr>
        <p:spPr>
          <a:xfrm>
            <a:off x="3359696" y="3086032"/>
            <a:ext cx="540000" cy="208612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21862,3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0" name="Прямоугольник 181"/>
          <p:cNvSpPr/>
          <p:nvPr/>
        </p:nvSpPr>
        <p:spPr>
          <a:xfrm>
            <a:off x="6323353" y="3140969"/>
            <a:ext cx="5400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8062,4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1" name="Прямоугольник 181"/>
          <p:cNvSpPr/>
          <p:nvPr/>
        </p:nvSpPr>
        <p:spPr>
          <a:xfrm>
            <a:off x="3067541" y="2231396"/>
            <a:ext cx="5400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45956,6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2" name="Прямоугольник 181"/>
          <p:cNvSpPr/>
          <p:nvPr/>
        </p:nvSpPr>
        <p:spPr>
          <a:xfrm>
            <a:off x="6829480" y="2276873"/>
            <a:ext cx="5400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56974,2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3" name="Прямоугольник 181"/>
          <p:cNvSpPr/>
          <p:nvPr/>
        </p:nvSpPr>
        <p:spPr>
          <a:xfrm>
            <a:off x="4082901" y="1752829"/>
            <a:ext cx="608884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25263,7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5" name="Прямоугольник 181"/>
          <p:cNvSpPr/>
          <p:nvPr/>
        </p:nvSpPr>
        <p:spPr>
          <a:xfrm>
            <a:off x="5519936" y="2300422"/>
            <a:ext cx="5400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6126,5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6" name="Прямоугольник 181"/>
          <p:cNvSpPr/>
          <p:nvPr/>
        </p:nvSpPr>
        <p:spPr>
          <a:xfrm>
            <a:off x="4897416" y="2852937"/>
            <a:ext cx="5400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5675,0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7" name="Прямоугольник 181"/>
          <p:cNvSpPr/>
          <p:nvPr/>
        </p:nvSpPr>
        <p:spPr>
          <a:xfrm>
            <a:off x="4259056" y="2597206"/>
            <a:ext cx="595994" cy="183722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216372,6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8" name="Прямоугольник 181"/>
          <p:cNvSpPr/>
          <p:nvPr/>
        </p:nvSpPr>
        <p:spPr>
          <a:xfrm>
            <a:off x="3625516" y="2439270"/>
            <a:ext cx="607406" cy="197642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141554,4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9" name="Прямоугольник 181"/>
          <p:cNvSpPr/>
          <p:nvPr/>
        </p:nvSpPr>
        <p:spPr>
          <a:xfrm>
            <a:off x="6150979" y="1638302"/>
            <a:ext cx="553896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31649,2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0" name="Прямоугольник 181"/>
          <p:cNvSpPr/>
          <p:nvPr/>
        </p:nvSpPr>
        <p:spPr>
          <a:xfrm>
            <a:off x="6910698" y="1628801"/>
            <a:ext cx="474046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9604,9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1" name="Прямоугольник 181"/>
          <p:cNvSpPr/>
          <p:nvPr/>
        </p:nvSpPr>
        <p:spPr>
          <a:xfrm>
            <a:off x="8943340" y="2564905"/>
            <a:ext cx="553400" cy="18949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19232,3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2" name="Прямоугольник 181"/>
          <p:cNvSpPr/>
          <p:nvPr/>
        </p:nvSpPr>
        <p:spPr>
          <a:xfrm>
            <a:off x="8508328" y="3127498"/>
            <a:ext cx="540000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35655,7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3" name="Прямоугольник 181"/>
          <p:cNvSpPr/>
          <p:nvPr/>
        </p:nvSpPr>
        <p:spPr>
          <a:xfrm>
            <a:off x="7861321" y="3645024"/>
            <a:ext cx="540000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46553,0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4" name="Прямоугольник 181"/>
          <p:cNvSpPr/>
          <p:nvPr/>
        </p:nvSpPr>
        <p:spPr>
          <a:xfrm>
            <a:off x="6995179" y="3946116"/>
            <a:ext cx="527005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4631,7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5" name="Прямоугольник 181"/>
          <p:cNvSpPr/>
          <p:nvPr/>
        </p:nvSpPr>
        <p:spPr>
          <a:xfrm>
            <a:off x="6248446" y="3645024"/>
            <a:ext cx="527005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5095,8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81"/>
          <p:cNvSpPr/>
          <p:nvPr/>
        </p:nvSpPr>
        <p:spPr>
          <a:xfrm>
            <a:off x="5454426" y="3705972"/>
            <a:ext cx="527005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63188,7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7" name="Прямоугольник 181"/>
          <p:cNvSpPr/>
          <p:nvPr/>
        </p:nvSpPr>
        <p:spPr>
          <a:xfrm>
            <a:off x="5976142" y="2739736"/>
            <a:ext cx="584193" cy="169921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12834,6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0" name="Прямоугольник 181"/>
          <p:cNvSpPr/>
          <p:nvPr/>
        </p:nvSpPr>
        <p:spPr>
          <a:xfrm>
            <a:off x="2567345" y="3004403"/>
            <a:ext cx="527005" cy="217608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15075,0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2" name="Прямоугольник 181"/>
          <p:cNvSpPr/>
          <p:nvPr/>
        </p:nvSpPr>
        <p:spPr>
          <a:xfrm>
            <a:off x="3978039" y="3197436"/>
            <a:ext cx="556220" cy="202964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12770">
              <a:defRPr/>
            </a:pPr>
            <a:r>
              <a:rPr lang="uk-UA" sz="1000" dirty="0">
                <a:solidFill>
                  <a:schemeClr val="tx1"/>
                </a:solidFill>
              </a:rPr>
              <a:t>45436,5</a:t>
            </a:r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147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 3"/>
          <p:cNvSpPr txBox="1">
            <a:spLocks noChangeArrowheads="1"/>
          </p:cNvSpPr>
          <p:nvPr/>
        </p:nvSpPr>
        <p:spPr bwMode="auto">
          <a:xfrm>
            <a:off x="2244230" y="111107"/>
            <a:ext cx="8003969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800" b="1" dirty="0">
                <a:solidFill>
                  <a:schemeClr val="accent1"/>
                </a:solidFill>
                <a:latin typeface="Calibri" pitchFamily="34" charset="0"/>
              </a:rPr>
              <a:t>НАПРЯМИ ВИКОРИСТАННЯ КОШТІВ СУБВЕНЦІЇ </a:t>
            </a:r>
          </a:p>
        </p:txBody>
      </p:sp>
      <p:grpSp>
        <p:nvGrpSpPr>
          <p:cNvPr id="128" name="Групувати 127"/>
          <p:cNvGrpSpPr/>
          <p:nvPr/>
        </p:nvGrpSpPr>
        <p:grpSpPr>
          <a:xfrm>
            <a:off x="2569946" y="908720"/>
            <a:ext cx="7545082" cy="1152128"/>
            <a:chOff x="516126" y="220"/>
            <a:chExt cx="7545082" cy="453673"/>
          </a:xfrm>
        </p:grpSpPr>
        <p:sp>
          <p:nvSpPr>
            <p:cNvPr id="129" name="Округлений прямокутник 128"/>
            <p:cNvSpPr/>
            <p:nvPr/>
          </p:nvSpPr>
          <p:spPr>
            <a:xfrm>
              <a:off x="516126" y="220"/>
              <a:ext cx="7545082" cy="453673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0" name="Округлений прямокутник 4"/>
            <p:cNvSpPr/>
            <p:nvPr/>
          </p:nvSpPr>
          <p:spPr>
            <a:xfrm>
              <a:off x="538272" y="22366"/>
              <a:ext cx="7500790" cy="3464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dirty="0"/>
                <a:t>створення, модернізація інфраструктури ОТГ</a:t>
              </a:r>
            </a:p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(нове будівництво, реконструкція, капітальний ремонт</a:t>
              </a:r>
            </a:p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(у тому числі, виготовлення проектної та містобудівної документації)</a:t>
              </a:r>
            </a:p>
          </p:txBody>
        </p:sp>
      </p:grpSp>
      <p:grpSp>
        <p:nvGrpSpPr>
          <p:cNvPr id="131" name="Групувати 130"/>
          <p:cNvGrpSpPr/>
          <p:nvPr/>
        </p:nvGrpSpPr>
        <p:grpSpPr>
          <a:xfrm>
            <a:off x="6241136" y="2204864"/>
            <a:ext cx="3905713" cy="1442062"/>
            <a:chOff x="4248457" y="564089"/>
            <a:chExt cx="3804361" cy="725600"/>
          </a:xfrm>
        </p:grpSpPr>
        <p:sp>
          <p:nvSpPr>
            <p:cNvPr id="132" name="Округлений прямокутник 131"/>
            <p:cNvSpPr/>
            <p:nvPr/>
          </p:nvSpPr>
          <p:spPr>
            <a:xfrm>
              <a:off x="4248457" y="564089"/>
              <a:ext cx="3804361" cy="7256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3" name="Округлений прямокутник 4"/>
            <p:cNvSpPr/>
            <p:nvPr/>
          </p:nvSpPr>
          <p:spPr>
            <a:xfrm>
              <a:off x="4283878" y="599510"/>
              <a:ext cx="3733519" cy="6547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капітальний ремонт приміщень дошкільних та шкільних навчальних закладів з обов’язковим застосуванням енергозберігаючих технологій</a:t>
              </a:r>
              <a:endParaRPr lang="uk-UA" sz="1200" dirty="0"/>
            </a:p>
          </p:txBody>
        </p:sp>
      </p:grpSp>
      <p:grpSp>
        <p:nvGrpSpPr>
          <p:cNvPr id="134" name="Групувати 133"/>
          <p:cNvGrpSpPr/>
          <p:nvPr/>
        </p:nvGrpSpPr>
        <p:grpSpPr>
          <a:xfrm>
            <a:off x="1915636" y="3861049"/>
            <a:ext cx="3820324" cy="1548443"/>
            <a:chOff x="348867" y="2811582"/>
            <a:chExt cx="3699291" cy="1395206"/>
          </a:xfrm>
        </p:grpSpPr>
        <p:sp>
          <p:nvSpPr>
            <p:cNvPr id="135" name="Округлений прямокутник 134"/>
            <p:cNvSpPr/>
            <p:nvPr/>
          </p:nvSpPr>
          <p:spPr>
            <a:xfrm>
              <a:off x="348867" y="2811582"/>
              <a:ext cx="3699291" cy="139520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6" name="Округлений прямокутник 4"/>
            <p:cNvSpPr/>
            <p:nvPr/>
          </p:nvSpPr>
          <p:spPr>
            <a:xfrm>
              <a:off x="416975" y="2879690"/>
              <a:ext cx="3563075" cy="12589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ремонт доріг, мостів, переходів комунальної форми власності, що поліпшують доступність жителів до об’єктів та установ, у яких надаються адміністративні, соціальні та інші послуги</a:t>
              </a:r>
            </a:p>
          </p:txBody>
        </p:sp>
      </p:grpSp>
      <p:grpSp>
        <p:nvGrpSpPr>
          <p:cNvPr id="137" name="Групувати 136"/>
          <p:cNvGrpSpPr/>
          <p:nvPr/>
        </p:nvGrpSpPr>
        <p:grpSpPr>
          <a:xfrm>
            <a:off x="6241135" y="3861049"/>
            <a:ext cx="4007064" cy="1620451"/>
            <a:chOff x="4176519" y="2756122"/>
            <a:chExt cx="4007064" cy="1346626"/>
          </a:xfrm>
        </p:grpSpPr>
        <p:sp>
          <p:nvSpPr>
            <p:cNvPr id="138" name="Округлений прямокутник 137"/>
            <p:cNvSpPr/>
            <p:nvPr/>
          </p:nvSpPr>
          <p:spPr>
            <a:xfrm>
              <a:off x="4176519" y="2756122"/>
              <a:ext cx="4007064" cy="1346626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9" name="Округлений прямокутник 4"/>
            <p:cNvSpPr/>
            <p:nvPr/>
          </p:nvSpPr>
          <p:spPr>
            <a:xfrm>
              <a:off x="4242256" y="2821859"/>
              <a:ext cx="3875590" cy="121515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закупівлю транспортних засобів для підвезення дітей до навчальних закладів, транспортних засобів спеціального призначення для комунальних підприємств, пожежної і спеціальної рятувальної техніки та </a:t>
              </a:r>
              <a:r>
                <a:rPr lang="uk-UA" sz="1400" dirty="0"/>
                <a:t>пожежно-рятувального оснащення</a:t>
              </a:r>
              <a:endParaRPr lang="uk-UA" sz="1100" dirty="0"/>
            </a:p>
          </p:txBody>
        </p:sp>
      </p:grpSp>
      <p:grpSp>
        <p:nvGrpSpPr>
          <p:cNvPr id="140" name="Групувати 139"/>
          <p:cNvGrpSpPr/>
          <p:nvPr/>
        </p:nvGrpSpPr>
        <p:grpSpPr>
          <a:xfrm>
            <a:off x="3578416" y="5589240"/>
            <a:ext cx="4893848" cy="1174850"/>
            <a:chOff x="227263" y="4444757"/>
            <a:chExt cx="4528215" cy="958289"/>
          </a:xfrm>
        </p:grpSpPr>
        <p:sp>
          <p:nvSpPr>
            <p:cNvPr id="141" name="Округлений прямокутник 140"/>
            <p:cNvSpPr/>
            <p:nvPr/>
          </p:nvSpPr>
          <p:spPr>
            <a:xfrm>
              <a:off x="227263" y="4444757"/>
              <a:ext cx="4528215" cy="958289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2" name="Округлений прямокутник 4"/>
            <p:cNvSpPr/>
            <p:nvPr/>
          </p:nvSpPr>
          <p:spPr>
            <a:xfrm>
              <a:off x="274043" y="4491537"/>
              <a:ext cx="4434655" cy="8647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600" dirty="0"/>
                <a:t>будівництво водогонів, систем водовідведення, </a:t>
              </a:r>
              <a:r>
                <a:rPr lang="uk-UA" sz="1600" dirty="0" smtClean="0"/>
                <a:t>полігонів ТПВ, рекультивація </a:t>
              </a:r>
              <a:r>
                <a:rPr lang="uk-UA" sz="1600" dirty="0"/>
                <a:t>територій </a:t>
              </a:r>
              <a:r>
                <a:rPr lang="uk-UA" sz="1600" dirty="0" smtClean="0"/>
                <a:t>сміттєзвалищ</a:t>
              </a:r>
              <a:endParaRPr lang="uk-UA" sz="1600" dirty="0"/>
            </a:p>
          </p:txBody>
        </p:sp>
      </p:grpSp>
      <p:grpSp>
        <p:nvGrpSpPr>
          <p:cNvPr id="143" name="Групувати 142"/>
          <p:cNvGrpSpPr/>
          <p:nvPr/>
        </p:nvGrpSpPr>
        <p:grpSpPr>
          <a:xfrm>
            <a:off x="1915635" y="2204865"/>
            <a:ext cx="3820325" cy="1442061"/>
            <a:chOff x="504065" y="693516"/>
            <a:chExt cx="3218460" cy="785184"/>
          </a:xfrm>
        </p:grpSpPr>
        <p:sp>
          <p:nvSpPr>
            <p:cNvPr id="144" name="Округлений прямокутник 143"/>
            <p:cNvSpPr/>
            <p:nvPr/>
          </p:nvSpPr>
          <p:spPr>
            <a:xfrm>
              <a:off x="504065" y="693516"/>
              <a:ext cx="3218460" cy="785184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5" name="Округлений прямокутник 4"/>
            <p:cNvSpPr/>
            <p:nvPr/>
          </p:nvSpPr>
          <p:spPr>
            <a:xfrm>
              <a:off x="542395" y="731846"/>
              <a:ext cx="3141800" cy="7085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dirty="0"/>
                <a:t>створення центрів надання адміністративних послу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167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2484578" y="213441"/>
            <a:ext cx="8093921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800" b="1" cap="all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cs typeface="Arial" pitchFamily="34" charset="0"/>
              </a:rPr>
              <a:t>ПОРЯДОК ВИКОРИСТАННЯ СУБВЕНЦІЇ</a:t>
            </a:r>
          </a:p>
        </p:txBody>
      </p:sp>
      <p:sp>
        <p:nvSpPr>
          <p:cNvPr id="4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981950" y="6356352"/>
            <a:ext cx="2057400" cy="365125"/>
          </a:xfr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2128357" y="2582042"/>
            <a:ext cx="1714608" cy="50388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ПРОЕКТНА ЗАЯВКА</a:t>
            </a:r>
            <a:endParaRPr lang="en-US" sz="20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1" name="Snip Same Side Corner Rectangle 4"/>
          <p:cNvSpPr/>
          <p:nvPr/>
        </p:nvSpPr>
        <p:spPr>
          <a:xfrm>
            <a:off x="1415481" y="1340768"/>
            <a:ext cx="2816728" cy="1079218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ВИКОНАВЧИЙ КОМІТЕТ РАДИ ОТГ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2" name="Rectangle 38"/>
          <p:cNvSpPr/>
          <p:nvPr/>
        </p:nvSpPr>
        <p:spPr>
          <a:xfrm>
            <a:off x="4727027" y="2419986"/>
            <a:ext cx="1485000" cy="828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ВИСНОВОК</a:t>
            </a:r>
          </a:p>
          <a:p>
            <a:pPr algn="ctr" defTabSz="245359"/>
            <a:r>
              <a:rPr lang="uk-UA" sz="16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(5 днів)</a:t>
            </a:r>
            <a:endParaRPr lang="en-US" sz="16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3" name="Snip Same Side Corner Rectangle 4"/>
          <p:cNvSpPr/>
          <p:nvPr/>
        </p:nvSpPr>
        <p:spPr>
          <a:xfrm>
            <a:off x="4727027" y="1590424"/>
            <a:ext cx="1485000" cy="684000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ОДА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4" name="Rectangle 38"/>
          <p:cNvSpPr/>
          <p:nvPr/>
        </p:nvSpPr>
        <p:spPr>
          <a:xfrm>
            <a:off x="7228406" y="2784561"/>
            <a:ext cx="1782198" cy="828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ВИСНОВОК ОДА НА ПРОЕКТНУ ЗАЯВКУ</a:t>
            </a:r>
          </a:p>
          <a:p>
            <a:pPr algn="ctr" defTabSz="245359"/>
            <a:endParaRPr lang="en-US" sz="20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5" name="Snip Same Side Corner Rectangle 4"/>
          <p:cNvSpPr/>
          <p:nvPr/>
        </p:nvSpPr>
        <p:spPr>
          <a:xfrm>
            <a:off x="6933104" y="1340768"/>
            <a:ext cx="2486951" cy="946316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ВИКОНАВЧИЙ КОМІТЕТ РАДИ ОТГ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6" name="Rectangle 38"/>
          <p:cNvSpPr/>
          <p:nvPr/>
        </p:nvSpPr>
        <p:spPr>
          <a:xfrm>
            <a:off x="8024221" y="4689232"/>
            <a:ext cx="2067074" cy="828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ПОГОДЖЕННЯ ПРОЕКТНОЇ ЗАЯВКИ </a:t>
            </a:r>
          </a:p>
          <a:p>
            <a:pPr algn="ctr" defTabSz="245359"/>
            <a:r>
              <a:rPr lang="uk-UA" sz="16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(5 ДНІВ)</a:t>
            </a:r>
            <a:endParaRPr lang="en-US" sz="16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7" name="Snip Same Side Corner Rectangle 4"/>
          <p:cNvSpPr/>
          <p:nvPr/>
        </p:nvSpPr>
        <p:spPr>
          <a:xfrm>
            <a:off x="7756376" y="3666418"/>
            <a:ext cx="2606099" cy="684000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МІЖВІДОМЧА КОМІСІЯ </a:t>
            </a:r>
          </a:p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МІНРЕГІОН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8" name="Rectangle 38"/>
          <p:cNvSpPr/>
          <p:nvPr/>
        </p:nvSpPr>
        <p:spPr>
          <a:xfrm>
            <a:off x="5826994" y="4653137"/>
            <a:ext cx="1781174" cy="82779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РОЗРОБЛЕННЯ ПРОЕКТУ</a:t>
            </a:r>
            <a:endParaRPr lang="en-US" sz="20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9" name="Snip Same Side Corner Rectangle 4"/>
          <p:cNvSpPr/>
          <p:nvPr/>
        </p:nvSpPr>
        <p:spPr>
          <a:xfrm>
            <a:off x="5246549" y="3669346"/>
            <a:ext cx="2509827" cy="683832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ВИКОНАВЧИЙ КОМІТЕТ РАДИ ОТГ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20" name="Rectangle 38"/>
          <p:cNvSpPr/>
          <p:nvPr/>
        </p:nvSpPr>
        <p:spPr>
          <a:xfrm>
            <a:off x="3334113" y="4653136"/>
            <a:ext cx="1912435" cy="828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120" tIns="15120" rIns="15120" bIns="15120" anchor="ctr" anchorCtr="0"/>
          <a:lstStyle/>
          <a:p>
            <a:pPr algn="ctr" defTabSz="245359"/>
            <a:r>
              <a:rPr lang="uk-UA" sz="2000" kern="0" dirty="0">
                <a:solidFill>
                  <a:srgbClr val="C43D59"/>
                </a:solidFill>
                <a:latin typeface="Calibri" pitchFamily="34" charset="0"/>
                <a:ea typeface="MS PGothic" pitchFamily="34" charset="-128"/>
              </a:rPr>
              <a:t>ЗАТВЕРДЖЕННЯ ПРОЕКТУ</a:t>
            </a:r>
            <a:endParaRPr lang="en-US" sz="2000" kern="0" dirty="0">
              <a:solidFill>
                <a:srgbClr val="C43D59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21" name="Snip Same Side Corner Rectangle 4"/>
          <p:cNvSpPr/>
          <p:nvPr/>
        </p:nvSpPr>
        <p:spPr>
          <a:xfrm>
            <a:off x="3842965" y="3668206"/>
            <a:ext cx="1305247" cy="684000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РАДА ОТГ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grpSp>
        <p:nvGrpSpPr>
          <p:cNvPr id="122" name="Group 90"/>
          <p:cNvGrpSpPr>
            <a:grpSpLocks noChangeAspect="1"/>
          </p:cNvGrpSpPr>
          <p:nvPr/>
        </p:nvGrpSpPr>
        <p:grpSpPr bwMode="auto">
          <a:xfrm>
            <a:off x="1690363" y="4517919"/>
            <a:ext cx="1021262" cy="843082"/>
            <a:chOff x="1593" y="1011"/>
            <a:chExt cx="2574" cy="2298"/>
          </a:xfrm>
        </p:grpSpPr>
        <p:sp>
          <p:nvSpPr>
            <p:cNvPr id="123" name="AutoShape 89"/>
            <p:cNvSpPr>
              <a:spLocks noChangeAspect="1" noChangeArrowheads="1" noTextEdit="1"/>
            </p:cNvSpPr>
            <p:nvPr/>
          </p:nvSpPr>
          <p:spPr bwMode="auto">
            <a:xfrm>
              <a:off x="1593" y="1011"/>
              <a:ext cx="2574" cy="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4" name="Freeform 92"/>
            <p:cNvSpPr>
              <a:spLocks/>
            </p:cNvSpPr>
            <p:nvPr/>
          </p:nvSpPr>
          <p:spPr bwMode="auto">
            <a:xfrm>
              <a:off x="1593" y="1589"/>
              <a:ext cx="954" cy="751"/>
            </a:xfrm>
            <a:custGeom>
              <a:avLst/>
              <a:gdLst>
                <a:gd name="T0" fmla="*/ 374 w 1908"/>
                <a:gd name="T1" fmla="*/ 0 h 1502"/>
                <a:gd name="T2" fmla="*/ 409 w 1908"/>
                <a:gd name="T3" fmla="*/ 1 h 1502"/>
                <a:gd name="T4" fmla="*/ 444 w 1908"/>
                <a:gd name="T5" fmla="*/ 3 h 1502"/>
                <a:gd name="T6" fmla="*/ 477 w 1908"/>
                <a:gd name="T7" fmla="*/ 7 h 1502"/>
                <a:gd name="T8" fmla="*/ 477 w 1908"/>
                <a:gd name="T9" fmla="*/ 369 h 1502"/>
                <a:gd name="T10" fmla="*/ 444 w 1908"/>
                <a:gd name="T11" fmla="*/ 373 h 1502"/>
                <a:gd name="T12" fmla="*/ 409 w 1908"/>
                <a:gd name="T13" fmla="*/ 376 h 1502"/>
                <a:gd name="T14" fmla="*/ 374 w 1908"/>
                <a:gd name="T15" fmla="*/ 376 h 1502"/>
                <a:gd name="T16" fmla="*/ 341 w 1908"/>
                <a:gd name="T17" fmla="*/ 376 h 1502"/>
                <a:gd name="T18" fmla="*/ 310 w 1908"/>
                <a:gd name="T19" fmla="*/ 374 h 1502"/>
                <a:gd name="T20" fmla="*/ 279 w 1908"/>
                <a:gd name="T21" fmla="*/ 371 h 1502"/>
                <a:gd name="T22" fmla="*/ 250 w 1908"/>
                <a:gd name="T23" fmla="*/ 367 h 1502"/>
                <a:gd name="T24" fmla="*/ 221 w 1908"/>
                <a:gd name="T25" fmla="*/ 361 h 1502"/>
                <a:gd name="T26" fmla="*/ 194 w 1908"/>
                <a:gd name="T27" fmla="*/ 355 h 1502"/>
                <a:gd name="T28" fmla="*/ 168 w 1908"/>
                <a:gd name="T29" fmla="*/ 348 h 1502"/>
                <a:gd name="T30" fmla="*/ 144 w 1908"/>
                <a:gd name="T31" fmla="*/ 340 h 1502"/>
                <a:gd name="T32" fmla="*/ 120 w 1908"/>
                <a:gd name="T33" fmla="*/ 331 h 1502"/>
                <a:gd name="T34" fmla="*/ 99 w 1908"/>
                <a:gd name="T35" fmla="*/ 322 h 1502"/>
                <a:gd name="T36" fmla="*/ 80 w 1908"/>
                <a:gd name="T37" fmla="*/ 311 h 1502"/>
                <a:gd name="T38" fmla="*/ 62 w 1908"/>
                <a:gd name="T39" fmla="*/ 300 h 1502"/>
                <a:gd name="T40" fmla="*/ 46 w 1908"/>
                <a:gd name="T41" fmla="*/ 288 h 1502"/>
                <a:gd name="T42" fmla="*/ 33 w 1908"/>
                <a:gd name="T43" fmla="*/ 276 h 1502"/>
                <a:gd name="T44" fmla="*/ 21 w 1908"/>
                <a:gd name="T45" fmla="*/ 263 h 1502"/>
                <a:gd name="T46" fmla="*/ 12 w 1908"/>
                <a:gd name="T47" fmla="*/ 249 h 1502"/>
                <a:gd name="T48" fmla="*/ 6 w 1908"/>
                <a:gd name="T49" fmla="*/ 236 h 1502"/>
                <a:gd name="T50" fmla="*/ 2 w 1908"/>
                <a:gd name="T51" fmla="*/ 221 h 1502"/>
                <a:gd name="T52" fmla="*/ 0 w 1908"/>
                <a:gd name="T53" fmla="*/ 207 h 1502"/>
                <a:gd name="T54" fmla="*/ 0 w 1908"/>
                <a:gd name="T55" fmla="*/ 170 h 1502"/>
                <a:gd name="T56" fmla="*/ 2 w 1908"/>
                <a:gd name="T57" fmla="*/ 155 h 1502"/>
                <a:gd name="T58" fmla="*/ 6 w 1908"/>
                <a:gd name="T59" fmla="*/ 141 h 1502"/>
                <a:gd name="T60" fmla="*/ 12 w 1908"/>
                <a:gd name="T61" fmla="*/ 127 h 1502"/>
                <a:gd name="T62" fmla="*/ 21 w 1908"/>
                <a:gd name="T63" fmla="*/ 114 h 1502"/>
                <a:gd name="T64" fmla="*/ 33 w 1908"/>
                <a:gd name="T65" fmla="*/ 100 h 1502"/>
                <a:gd name="T66" fmla="*/ 46 w 1908"/>
                <a:gd name="T67" fmla="*/ 88 h 1502"/>
                <a:gd name="T68" fmla="*/ 62 w 1908"/>
                <a:gd name="T69" fmla="*/ 77 h 1502"/>
                <a:gd name="T70" fmla="*/ 80 w 1908"/>
                <a:gd name="T71" fmla="*/ 65 h 1502"/>
                <a:gd name="T72" fmla="*/ 99 w 1908"/>
                <a:gd name="T73" fmla="*/ 55 h 1502"/>
                <a:gd name="T74" fmla="*/ 120 w 1908"/>
                <a:gd name="T75" fmla="*/ 45 h 1502"/>
                <a:gd name="T76" fmla="*/ 144 w 1908"/>
                <a:gd name="T77" fmla="*/ 36 h 1502"/>
                <a:gd name="T78" fmla="*/ 168 w 1908"/>
                <a:gd name="T79" fmla="*/ 28 h 1502"/>
                <a:gd name="T80" fmla="*/ 194 w 1908"/>
                <a:gd name="T81" fmla="*/ 21 h 1502"/>
                <a:gd name="T82" fmla="*/ 221 w 1908"/>
                <a:gd name="T83" fmla="*/ 15 h 1502"/>
                <a:gd name="T84" fmla="*/ 250 w 1908"/>
                <a:gd name="T85" fmla="*/ 10 h 1502"/>
                <a:gd name="T86" fmla="*/ 279 w 1908"/>
                <a:gd name="T87" fmla="*/ 6 h 1502"/>
                <a:gd name="T88" fmla="*/ 310 w 1908"/>
                <a:gd name="T89" fmla="*/ 3 h 1502"/>
                <a:gd name="T90" fmla="*/ 341 w 1908"/>
                <a:gd name="T91" fmla="*/ 1 h 1502"/>
                <a:gd name="T92" fmla="*/ 374 w 1908"/>
                <a:gd name="T93" fmla="*/ 0 h 15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908" h="1502">
                  <a:moveTo>
                    <a:pt x="1493" y="0"/>
                  </a:moveTo>
                  <a:lnTo>
                    <a:pt x="1635" y="4"/>
                  </a:lnTo>
                  <a:lnTo>
                    <a:pt x="1774" y="11"/>
                  </a:lnTo>
                  <a:lnTo>
                    <a:pt x="1908" y="27"/>
                  </a:lnTo>
                  <a:lnTo>
                    <a:pt x="1908" y="1476"/>
                  </a:lnTo>
                  <a:lnTo>
                    <a:pt x="1774" y="1491"/>
                  </a:lnTo>
                  <a:lnTo>
                    <a:pt x="1635" y="1501"/>
                  </a:lnTo>
                  <a:lnTo>
                    <a:pt x="1493" y="1502"/>
                  </a:lnTo>
                  <a:lnTo>
                    <a:pt x="1363" y="1501"/>
                  </a:lnTo>
                  <a:lnTo>
                    <a:pt x="1239" y="1493"/>
                  </a:lnTo>
                  <a:lnTo>
                    <a:pt x="1115" y="1482"/>
                  </a:lnTo>
                  <a:lnTo>
                    <a:pt x="997" y="1465"/>
                  </a:lnTo>
                  <a:lnTo>
                    <a:pt x="883" y="1444"/>
                  </a:lnTo>
                  <a:lnTo>
                    <a:pt x="774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0" y="1324"/>
                  </a:lnTo>
                  <a:lnTo>
                    <a:pt x="395" y="1285"/>
                  </a:lnTo>
                  <a:lnTo>
                    <a:pt x="317" y="1243"/>
                  </a:lnTo>
                  <a:lnTo>
                    <a:pt x="246" y="1199"/>
                  </a:lnTo>
                  <a:lnTo>
                    <a:pt x="184" y="1151"/>
                  </a:lnTo>
                  <a:lnTo>
                    <a:pt x="129" y="1102"/>
                  </a:lnTo>
                  <a:lnTo>
                    <a:pt x="84" y="1051"/>
                  </a:lnTo>
                  <a:lnTo>
                    <a:pt x="48" y="996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6"/>
                  </a:lnTo>
                  <a:lnTo>
                    <a:pt x="0" y="677"/>
                  </a:lnTo>
                  <a:lnTo>
                    <a:pt x="6" y="619"/>
                  </a:lnTo>
                  <a:lnTo>
                    <a:pt x="22" y="561"/>
                  </a:lnTo>
                  <a:lnTo>
                    <a:pt x="48" y="507"/>
                  </a:lnTo>
                  <a:lnTo>
                    <a:pt x="84" y="454"/>
                  </a:lnTo>
                  <a:lnTo>
                    <a:pt x="129" y="400"/>
                  </a:lnTo>
                  <a:lnTo>
                    <a:pt x="184" y="352"/>
                  </a:lnTo>
                  <a:lnTo>
                    <a:pt x="246" y="305"/>
                  </a:lnTo>
                  <a:lnTo>
                    <a:pt x="317" y="260"/>
                  </a:lnTo>
                  <a:lnTo>
                    <a:pt x="395" y="218"/>
                  </a:lnTo>
                  <a:lnTo>
                    <a:pt x="480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4" y="83"/>
                  </a:lnTo>
                  <a:lnTo>
                    <a:pt x="883" y="58"/>
                  </a:lnTo>
                  <a:lnTo>
                    <a:pt x="997" y="38"/>
                  </a:lnTo>
                  <a:lnTo>
                    <a:pt x="1115" y="22"/>
                  </a:lnTo>
                  <a:lnTo>
                    <a:pt x="1239" y="10"/>
                  </a:lnTo>
                  <a:lnTo>
                    <a:pt x="1363" y="2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5" name="Freeform 93"/>
            <p:cNvSpPr>
              <a:spLocks/>
            </p:cNvSpPr>
            <p:nvPr/>
          </p:nvSpPr>
          <p:spPr bwMode="auto">
            <a:xfrm>
              <a:off x="1593" y="2237"/>
              <a:ext cx="954" cy="482"/>
            </a:xfrm>
            <a:custGeom>
              <a:avLst/>
              <a:gdLst>
                <a:gd name="T0" fmla="*/ 8 w 1908"/>
                <a:gd name="T1" fmla="*/ 0 h 964"/>
                <a:gd name="T2" fmla="*/ 16 w 1908"/>
                <a:gd name="T3" fmla="*/ 14 h 964"/>
                <a:gd name="T4" fmla="*/ 25 w 1908"/>
                <a:gd name="T5" fmla="*/ 27 h 964"/>
                <a:gd name="T6" fmla="*/ 37 w 1908"/>
                <a:gd name="T7" fmla="*/ 39 h 964"/>
                <a:gd name="T8" fmla="*/ 51 w 1908"/>
                <a:gd name="T9" fmla="*/ 51 h 964"/>
                <a:gd name="T10" fmla="*/ 67 w 1908"/>
                <a:gd name="T11" fmla="*/ 62 h 964"/>
                <a:gd name="T12" fmla="*/ 85 w 1908"/>
                <a:gd name="T13" fmla="*/ 73 h 964"/>
                <a:gd name="T14" fmla="*/ 104 w 1908"/>
                <a:gd name="T15" fmla="*/ 83 h 964"/>
                <a:gd name="T16" fmla="*/ 126 w 1908"/>
                <a:gd name="T17" fmla="*/ 92 h 964"/>
                <a:gd name="T18" fmla="*/ 148 w 1908"/>
                <a:gd name="T19" fmla="*/ 101 h 964"/>
                <a:gd name="T20" fmla="*/ 172 w 1908"/>
                <a:gd name="T21" fmla="*/ 109 h 964"/>
                <a:gd name="T22" fmla="*/ 198 w 1908"/>
                <a:gd name="T23" fmla="*/ 115 h 964"/>
                <a:gd name="T24" fmla="*/ 225 w 1908"/>
                <a:gd name="T25" fmla="*/ 121 h 964"/>
                <a:gd name="T26" fmla="*/ 253 w 1908"/>
                <a:gd name="T27" fmla="*/ 126 h 964"/>
                <a:gd name="T28" fmla="*/ 282 w 1908"/>
                <a:gd name="T29" fmla="*/ 130 h 964"/>
                <a:gd name="T30" fmla="*/ 311 w 1908"/>
                <a:gd name="T31" fmla="*/ 133 h 964"/>
                <a:gd name="T32" fmla="*/ 342 w 1908"/>
                <a:gd name="T33" fmla="*/ 135 h 964"/>
                <a:gd name="T34" fmla="*/ 374 w 1908"/>
                <a:gd name="T35" fmla="*/ 135 h 964"/>
                <a:gd name="T36" fmla="*/ 409 w 1908"/>
                <a:gd name="T37" fmla="*/ 134 h 964"/>
                <a:gd name="T38" fmla="*/ 444 w 1908"/>
                <a:gd name="T39" fmla="*/ 132 h 964"/>
                <a:gd name="T40" fmla="*/ 477 w 1908"/>
                <a:gd name="T41" fmla="*/ 129 h 964"/>
                <a:gd name="T42" fmla="*/ 477 w 1908"/>
                <a:gd name="T43" fmla="*/ 235 h 964"/>
                <a:gd name="T44" fmla="*/ 444 w 1908"/>
                <a:gd name="T45" fmla="*/ 238 h 964"/>
                <a:gd name="T46" fmla="*/ 409 w 1908"/>
                <a:gd name="T47" fmla="*/ 241 h 964"/>
                <a:gd name="T48" fmla="*/ 374 w 1908"/>
                <a:gd name="T49" fmla="*/ 241 h 964"/>
                <a:gd name="T50" fmla="*/ 341 w 1908"/>
                <a:gd name="T51" fmla="*/ 241 h 964"/>
                <a:gd name="T52" fmla="*/ 310 w 1908"/>
                <a:gd name="T53" fmla="*/ 239 h 964"/>
                <a:gd name="T54" fmla="*/ 279 w 1908"/>
                <a:gd name="T55" fmla="*/ 236 h 964"/>
                <a:gd name="T56" fmla="*/ 250 w 1908"/>
                <a:gd name="T57" fmla="*/ 232 h 964"/>
                <a:gd name="T58" fmla="*/ 221 w 1908"/>
                <a:gd name="T59" fmla="*/ 227 h 964"/>
                <a:gd name="T60" fmla="*/ 194 w 1908"/>
                <a:gd name="T61" fmla="*/ 220 h 964"/>
                <a:gd name="T62" fmla="*/ 168 w 1908"/>
                <a:gd name="T63" fmla="*/ 213 h 964"/>
                <a:gd name="T64" fmla="*/ 144 w 1908"/>
                <a:gd name="T65" fmla="*/ 205 h 964"/>
                <a:gd name="T66" fmla="*/ 120 w 1908"/>
                <a:gd name="T67" fmla="*/ 196 h 964"/>
                <a:gd name="T68" fmla="*/ 99 w 1908"/>
                <a:gd name="T69" fmla="*/ 187 h 964"/>
                <a:gd name="T70" fmla="*/ 80 w 1908"/>
                <a:gd name="T71" fmla="*/ 176 h 964"/>
                <a:gd name="T72" fmla="*/ 62 w 1908"/>
                <a:gd name="T73" fmla="*/ 165 h 964"/>
                <a:gd name="T74" fmla="*/ 46 w 1908"/>
                <a:gd name="T75" fmla="*/ 154 h 964"/>
                <a:gd name="T76" fmla="*/ 33 w 1908"/>
                <a:gd name="T77" fmla="*/ 141 h 964"/>
                <a:gd name="T78" fmla="*/ 21 w 1908"/>
                <a:gd name="T79" fmla="*/ 128 h 964"/>
                <a:gd name="T80" fmla="*/ 12 w 1908"/>
                <a:gd name="T81" fmla="*/ 115 h 964"/>
                <a:gd name="T82" fmla="*/ 6 w 1908"/>
                <a:gd name="T83" fmla="*/ 101 h 964"/>
                <a:gd name="T84" fmla="*/ 2 w 1908"/>
                <a:gd name="T85" fmla="*/ 86 h 964"/>
                <a:gd name="T86" fmla="*/ 0 w 1908"/>
                <a:gd name="T87" fmla="*/ 72 h 964"/>
                <a:gd name="T88" fmla="*/ 0 w 1908"/>
                <a:gd name="T89" fmla="*/ 35 h 964"/>
                <a:gd name="T90" fmla="*/ 1 w 1908"/>
                <a:gd name="T91" fmla="*/ 23 h 964"/>
                <a:gd name="T92" fmla="*/ 4 w 1908"/>
                <a:gd name="T93" fmla="*/ 12 h 964"/>
                <a:gd name="T94" fmla="*/ 8 w 1908"/>
                <a:gd name="T95" fmla="*/ 0 h 96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908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7" y="155"/>
                  </a:lnTo>
                  <a:lnTo>
                    <a:pt x="203" y="203"/>
                  </a:lnTo>
                  <a:lnTo>
                    <a:pt x="267" y="248"/>
                  </a:lnTo>
                  <a:lnTo>
                    <a:pt x="337" y="291"/>
                  </a:lnTo>
                  <a:lnTo>
                    <a:pt x="415" y="331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59"/>
                  </a:lnTo>
                  <a:lnTo>
                    <a:pt x="897" y="483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7"/>
                  </a:lnTo>
                  <a:lnTo>
                    <a:pt x="1908" y="513"/>
                  </a:lnTo>
                  <a:lnTo>
                    <a:pt x="1908" y="938"/>
                  </a:lnTo>
                  <a:lnTo>
                    <a:pt x="1774" y="952"/>
                  </a:lnTo>
                  <a:lnTo>
                    <a:pt x="1635" y="961"/>
                  </a:lnTo>
                  <a:lnTo>
                    <a:pt x="1493" y="964"/>
                  </a:lnTo>
                  <a:lnTo>
                    <a:pt x="1363" y="961"/>
                  </a:lnTo>
                  <a:lnTo>
                    <a:pt x="1239" y="955"/>
                  </a:lnTo>
                  <a:lnTo>
                    <a:pt x="1115" y="942"/>
                  </a:lnTo>
                  <a:lnTo>
                    <a:pt x="997" y="925"/>
                  </a:lnTo>
                  <a:lnTo>
                    <a:pt x="883" y="905"/>
                  </a:lnTo>
                  <a:lnTo>
                    <a:pt x="774" y="880"/>
                  </a:lnTo>
                  <a:lnTo>
                    <a:pt x="671" y="852"/>
                  </a:lnTo>
                  <a:lnTo>
                    <a:pt x="573" y="820"/>
                  </a:lnTo>
                  <a:lnTo>
                    <a:pt x="480" y="784"/>
                  </a:lnTo>
                  <a:lnTo>
                    <a:pt x="395" y="745"/>
                  </a:lnTo>
                  <a:lnTo>
                    <a:pt x="317" y="703"/>
                  </a:lnTo>
                  <a:lnTo>
                    <a:pt x="246" y="659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6" name="Freeform 94"/>
            <p:cNvSpPr>
              <a:spLocks/>
            </p:cNvSpPr>
            <p:nvPr/>
          </p:nvSpPr>
          <p:spPr bwMode="auto">
            <a:xfrm>
              <a:off x="1593" y="2615"/>
              <a:ext cx="982" cy="482"/>
            </a:xfrm>
            <a:custGeom>
              <a:avLst/>
              <a:gdLst>
                <a:gd name="T0" fmla="*/ 8 w 1964"/>
                <a:gd name="T1" fmla="*/ 0 h 964"/>
                <a:gd name="T2" fmla="*/ 16 w 1964"/>
                <a:gd name="T3" fmla="*/ 14 h 964"/>
                <a:gd name="T4" fmla="*/ 25 w 1964"/>
                <a:gd name="T5" fmla="*/ 27 h 964"/>
                <a:gd name="T6" fmla="*/ 37 w 1964"/>
                <a:gd name="T7" fmla="*/ 40 h 964"/>
                <a:gd name="T8" fmla="*/ 51 w 1964"/>
                <a:gd name="T9" fmla="*/ 51 h 964"/>
                <a:gd name="T10" fmla="*/ 67 w 1964"/>
                <a:gd name="T11" fmla="*/ 63 h 964"/>
                <a:gd name="T12" fmla="*/ 85 w 1964"/>
                <a:gd name="T13" fmla="*/ 73 h 964"/>
                <a:gd name="T14" fmla="*/ 104 w 1964"/>
                <a:gd name="T15" fmla="*/ 83 h 964"/>
                <a:gd name="T16" fmla="*/ 126 w 1964"/>
                <a:gd name="T17" fmla="*/ 93 h 964"/>
                <a:gd name="T18" fmla="*/ 148 w 1964"/>
                <a:gd name="T19" fmla="*/ 101 h 964"/>
                <a:gd name="T20" fmla="*/ 172 w 1964"/>
                <a:gd name="T21" fmla="*/ 109 h 964"/>
                <a:gd name="T22" fmla="*/ 198 w 1964"/>
                <a:gd name="T23" fmla="*/ 115 h 964"/>
                <a:gd name="T24" fmla="*/ 225 w 1964"/>
                <a:gd name="T25" fmla="*/ 122 h 964"/>
                <a:gd name="T26" fmla="*/ 253 w 1964"/>
                <a:gd name="T27" fmla="*/ 126 h 964"/>
                <a:gd name="T28" fmla="*/ 282 w 1964"/>
                <a:gd name="T29" fmla="*/ 130 h 964"/>
                <a:gd name="T30" fmla="*/ 311 w 1964"/>
                <a:gd name="T31" fmla="*/ 133 h 964"/>
                <a:gd name="T32" fmla="*/ 342 w 1964"/>
                <a:gd name="T33" fmla="*/ 135 h 964"/>
                <a:gd name="T34" fmla="*/ 374 w 1964"/>
                <a:gd name="T35" fmla="*/ 135 h 964"/>
                <a:gd name="T36" fmla="*/ 409 w 1964"/>
                <a:gd name="T37" fmla="*/ 134 h 964"/>
                <a:gd name="T38" fmla="*/ 444 w 1964"/>
                <a:gd name="T39" fmla="*/ 132 h 964"/>
                <a:gd name="T40" fmla="*/ 477 w 1964"/>
                <a:gd name="T41" fmla="*/ 129 h 964"/>
                <a:gd name="T42" fmla="*/ 477 w 1964"/>
                <a:gd name="T43" fmla="*/ 174 h 964"/>
                <a:gd name="T44" fmla="*/ 479 w 1964"/>
                <a:gd name="T45" fmla="*/ 189 h 964"/>
                <a:gd name="T46" fmla="*/ 481 w 1964"/>
                <a:gd name="T47" fmla="*/ 204 h 964"/>
                <a:gd name="T48" fmla="*/ 485 w 1964"/>
                <a:gd name="T49" fmla="*/ 219 h 964"/>
                <a:gd name="T50" fmla="*/ 491 w 1964"/>
                <a:gd name="T51" fmla="*/ 233 h 964"/>
                <a:gd name="T52" fmla="*/ 463 w 1964"/>
                <a:gd name="T53" fmla="*/ 237 h 964"/>
                <a:gd name="T54" fmla="*/ 434 w 1964"/>
                <a:gd name="T55" fmla="*/ 240 h 964"/>
                <a:gd name="T56" fmla="*/ 404 w 1964"/>
                <a:gd name="T57" fmla="*/ 241 h 964"/>
                <a:gd name="T58" fmla="*/ 374 w 1964"/>
                <a:gd name="T59" fmla="*/ 241 h 964"/>
                <a:gd name="T60" fmla="*/ 341 w 1964"/>
                <a:gd name="T61" fmla="*/ 241 h 964"/>
                <a:gd name="T62" fmla="*/ 310 w 1964"/>
                <a:gd name="T63" fmla="*/ 239 h 964"/>
                <a:gd name="T64" fmla="*/ 279 w 1964"/>
                <a:gd name="T65" fmla="*/ 236 h 964"/>
                <a:gd name="T66" fmla="*/ 250 w 1964"/>
                <a:gd name="T67" fmla="*/ 232 h 964"/>
                <a:gd name="T68" fmla="*/ 221 w 1964"/>
                <a:gd name="T69" fmla="*/ 227 h 964"/>
                <a:gd name="T70" fmla="*/ 194 w 1964"/>
                <a:gd name="T71" fmla="*/ 221 h 964"/>
                <a:gd name="T72" fmla="*/ 168 w 1964"/>
                <a:gd name="T73" fmla="*/ 214 h 964"/>
                <a:gd name="T74" fmla="*/ 144 w 1964"/>
                <a:gd name="T75" fmla="*/ 206 h 964"/>
                <a:gd name="T76" fmla="*/ 120 w 1964"/>
                <a:gd name="T77" fmla="*/ 197 h 964"/>
                <a:gd name="T78" fmla="*/ 99 w 1964"/>
                <a:gd name="T79" fmla="*/ 187 h 964"/>
                <a:gd name="T80" fmla="*/ 80 w 1964"/>
                <a:gd name="T81" fmla="*/ 177 h 964"/>
                <a:gd name="T82" fmla="*/ 62 w 1964"/>
                <a:gd name="T83" fmla="*/ 165 h 964"/>
                <a:gd name="T84" fmla="*/ 46 w 1964"/>
                <a:gd name="T85" fmla="*/ 154 h 964"/>
                <a:gd name="T86" fmla="*/ 33 w 1964"/>
                <a:gd name="T87" fmla="*/ 141 h 964"/>
                <a:gd name="T88" fmla="*/ 21 w 1964"/>
                <a:gd name="T89" fmla="*/ 128 h 964"/>
                <a:gd name="T90" fmla="*/ 12 w 1964"/>
                <a:gd name="T91" fmla="*/ 115 h 964"/>
                <a:gd name="T92" fmla="*/ 6 w 1964"/>
                <a:gd name="T93" fmla="*/ 101 h 964"/>
                <a:gd name="T94" fmla="*/ 2 w 1964"/>
                <a:gd name="T95" fmla="*/ 87 h 964"/>
                <a:gd name="T96" fmla="*/ 0 w 1964"/>
                <a:gd name="T97" fmla="*/ 72 h 964"/>
                <a:gd name="T98" fmla="*/ 0 w 1964"/>
                <a:gd name="T99" fmla="*/ 35 h 964"/>
                <a:gd name="T100" fmla="*/ 1 w 1964"/>
                <a:gd name="T101" fmla="*/ 23 h 964"/>
                <a:gd name="T102" fmla="*/ 4 w 1964"/>
                <a:gd name="T103" fmla="*/ 12 h 964"/>
                <a:gd name="T104" fmla="*/ 8 w 1964"/>
                <a:gd name="T105" fmla="*/ 0 h 9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64" h="964">
                  <a:moveTo>
                    <a:pt x="31" y="0"/>
                  </a:moveTo>
                  <a:lnTo>
                    <a:pt x="61" y="55"/>
                  </a:lnTo>
                  <a:lnTo>
                    <a:pt x="100" y="107"/>
                  </a:lnTo>
                  <a:lnTo>
                    <a:pt x="147" y="157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7" y="291"/>
                  </a:lnTo>
                  <a:lnTo>
                    <a:pt x="415" y="332"/>
                  </a:lnTo>
                  <a:lnTo>
                    <a:pt x="501" y="369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89" y="460"/>
                  </a:lnTo>
                  <a:lnTo>
                    <a:pt x="897" y="485"/>
                  </a:lnTo>
                  <a:lnTo>
                    <a:pt x="1009" y="503"/>
                  </a:lnTo>
                  <a:lnTo>
                    <a:pt x="1125" y="519"/>
                  </a:lnTo>
                  <a:lnTo>
                    <a:pt x="1243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35" y="536"/>
                  </a:lnTo>
                  <a:lnTo>
                    <a:pt x="1774" y="528"/>
                  </a:lnTo>
                  <a:lnTo>
                    <a:pt x="1908" y="513"/>
                  </a:lnTo>
                  <a:lnTo>
                    <a:pt x="1908" y="694"/>
                  </a:lnTo>
                  <a:lnTo>
                    <a:pt x="1913" y="755"/>
                  </a:lnTo>
                  <a:lnTo>
                    <a:pt x="1922" y="814"/>
                  </a:lnTo>
                  <a:lnTo>
                    <a:pt x="1939" y="874"/>
                  </a:lnTo>
                  <a:lnTo>
                    <a:pt x="1964" y="930"/>
                  </a:lnTo>
                  <a:lnTo>
                    <a:pt x="1850" y="946"/>
                  </a:lnTo>
                  <a:lnTo>
                    <a:pt x="1735" y="957"/>
                  </a:lnTo>
                  <a:lnTo>
                    <a:pt x="1615" y="963"/>
                  </a:lnTo>
                  <a:lnTo>
                    <a:pt x="1493" y="964"/>
                  </a:lnTo>
                  <a:lnTo>
                    <a:pt x="1363" y="963"/>
                  </a:lnTo>
                  <a:lnTo>
                    <a:pt x="1239" y="955"/>
                  </a:lnTo>
                  <a:lnTo>
                    <a:pt x="1115" y="943"/>
                  </a:lnTo>
                  <a:lnTo>
                    <a:pt x="997" y="927"/>
                  </a:lnTo>
                  <a:lnTo>
                    <a:pt x="883" y="907"/>
                  </a:lnTo>
                  <a:lnTo>
                    <a:pt x="774" y="882"/>
                  </a:lnTo>
                  <a:lnTo>
                    <a:pt x="671" y="854"/>
                  </a:lnTo>
                  <a:lnTo>
                    <a:pt x="573" y="821"/>
                  </a:lnTo>
                  <a:lnTo>
                    <a:pt x="480" y="785"/>
                  </a:lnTo>
                  <a:lnTo>
                    <a:pt x="395" y="747"/>
                  </a:lnTo>
                  <a:lnTo>
                    <a:pt x="317" y="705"/>
                  </a:lnTo>
                  <a:lnTo>
                    <a:pt x="246" y="660"/>
                  </a:lnTo>
                  <a:lnTo>
                    <a:pt x="184" y="613"/>
                  </a:lnTo>
                  <a:lnTo>
                    <a:pt x="129" y="563"/>
                  </a:lnTo>
                  <a:lnTo>
                    <a:pt x="84" y="511"/>
                  </a:lnTo>
                  <a:lnTo>
                    <a:pt x="48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3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7" name="Freeform 95"/>
            <p:cNvSpPr>
              <a:spLocks/>
            </p:cNvSpPr>
            <p:nvPr/>
          </p:nvSpPr>
          <p:spPr bwMode="auto">
            <a:xfrm>
              <a:off x="2669" y="1015"/>
              <a:ext cx="1493" cy="752"/>
            </a:xfrm>
            <a:custGeom>
              <a:avLst/>
              <a:gdLst>
                <a:gd name="T0" fmla="*/ 406 w 2986"/>
                <a:gd name="T1" fmla="*/ 1 h 1503"/>
                <a:gd name="T2" fmla="*/ 468 w 2986"/>
                <a:gd name="T3" fmla="*/ 6 h 1503"/>
                <a:gd name="T4" fmla="*/ 526 w 2986"/>
                <a:gd name="T5" fmla="*/ 15 h 1503"/>
                <a:gd name="T6" fmla="*/ 579 w 2986"/>
                <a:gd name="T7" fmla="*/ 28 h 1503"/>
                <a:gd name="T8" fmla="*/ 627 w 2986"/>
                <a:gd name="T9" fmla="*/ 45 h 1503"/>
                <a:gd name="T10" fmla="*/ 667 w 2986"/>
                <a:gd name="T11" fmla="*/ 65 h 1503"/>
                <a:gd name="T12" fmla="*/ 701 w 2986"/>
                <a:gd name="T13" fmla="*/ 88 h 1503"/>
                <a:gd name="T14" fmla="*/ 726 w 2986"/>
                <a:gd name="T15" fmla="*/ 114 h 1503"/>
                <a:gd name="T16" fmla="*/ 741 w 2986"/>
                <a:gd name="T17" fmla="*/ 141 h 1503"/>
                <a:gd name="T18" fmla="*/ 747 w 2986"/>
                <a:gd name="T19" fmla="*/ 170 h 1503"/>
                <a:gd name="T20" fmla="*/ 745 w 2986"/>
                <a:gd name="T21" fmla="*/ 221 h 1503"/>
                <a:gd name="T22" fmla="*/ 735 w 2986"/>
                <a:gd name="T23" fmla="*/ 249 h 1503"/>
                <a:gd name="T24" fmla="*/ 715 w 2986"/>
                <a:gd name="T25" fmla="*/ 276 h 1503"/>
                <a:gd name="T26" fmla="*/ 685 w 2986"/>
                <a:gd name="T27" fmla="*/ 300 h 1503"/>
                <a:gd name="T28" fmla="*/ 648 w 2986"/>
                <a:gd name="T29" fmla="*/ 321 h 1503"/>
                <a:gd name="T30" fmla="*/ 604 w 2986"/>
                <a:gd name="T31" fmla="*/ 340 h 1503"/>
                <a:gd name="T32" fmla="*/ 553 w 2986"/>
                <a:gd name="T33" fmla="*/ 355 h 1503"/>
                <a:gd name="T34" fmla="*/ 497 w 2986"/>
                <a:gd name="T35" fmla="*/ 366 h 1503"/>
                <a:gd name="T36" fmla="*/ 437 w 2986"/>
                <a:gd name="T37" fmla="*/ 373 h 1503"/>
                <a:gd name="T38" fmla="*/ 374 w 2986"/>
                <a:gd name="T39" fmla="*/ 376 h 1503"/>
                <a:gd name="T40" fmla="*/ 310 w 2986"/>
                <a:gd name="T41" fmla="*/ 373 h 1503"/>
                <a:gd name="T42" fmla="*/ 250 w 2986"/>
                <a:gd name="T43" fmla="*/ 366 h 1503"/>
                <a:gd name="T44" fmla="*/ 194 w 2986"/>
                <a:gd name="T45" fmla="*/ 355 h 1503"/>
                <a:gd name="T46" fmla="*/ 144 w 2986"/>
                <a:gd name="T47" fmla="*/ 340 h 1503"/>
                <a:gd name="T48" fmla="*/ 99 w 2986"/>
                <a:gd name="T49" fmla="*/ 321 h 1503"/>
                <a:gd name="T50" fmla="*/ 62 w 2986"/>
                <a:gd name="T51" fmla="*/ 300 h 1503"/>
                <a:gd name="T52" fmla="*/ 33 w 2986"/>
                <a:gd name="T53" fmla="*/ 276 h 1503"/>
                <a:gd name="T54" fmla="*/ 13 w 2986"/>
                <a:gd name="T55" fmla="*/ 249 h 1503"/>
                <a:gd name="T56" fmla="*/ 2 w 2986"/>
                <a:gd name="T57" fmla="*/ 221 h 1503"/>
                <a:gd name="T58" fmla="*/ 0 w 2986"/>
                <a:gd name="T59" fmla="*/ 170 h 1503"/>
                <a:gd name="T60" fmla="*/ 6 w 2986"/>
                <a:gd name="T61" fmla="*/ 141 h 1503"/>
                <a:gd name="T62" fmla="*/ 21 w 2986"/>
                <a:gd name="T63" fmla="*/ 114 h 1503"/>
                <a:gd name="T64" fmla="*/ 46 w 2986"/>
                <a:gd name="T65" fmla="*/ 88 h 1503"/>
                <a:gd name="T66" fmla="*/ 80 w 2986"/>
                <a:gd name="T67" fmla="*/ 65 h 1503"/>
                <a:gd name="T68" fmla="*/ 121 w 2986"/>
                <a:gd name="T69" fmla="*/ 45 h 1503"/>
                <a:gd name="T70" fmla="*/ 168 w 2986"/>
                <a:gd name="T71" fmla="*/ 28 h 1503"/>
                <a:gd name="T72" fmla="*/ 222 w 2986"/>
                <a:gd name="T73" fmla="*/ 15 h 1503"/>
                <a:gd name="T74" fmla="*/ 280 w 2986"/>
                <a:gd name="T75" fmla="*/ 6 h 1503"/>
                <a:gd name="T76" fmla="*/ 341 w 2986"/>
                <a:gd name="T77" fmla="*/ 1 h 150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986" h="1503">
                  <a:moveTo>
                    <a:pt x="1493" y="0"/>
                  </a:moveTo>
                  <a:lnTo>
                    <a:pt x="1623" y="1"/>
                  </a:lnTo>
                  <a:lnTo>
                    <a:pt x="1747" y="9"/>
                  </a:lnTo>
                  <a:lnTo>
                    <a:pt x="1869" y="22"/>
                  </a:lnTo>
                  <a:lnTo>
                    <a:pt x="1988" y="37"/>
                  </a:lnTo>
                  <a:lnTo>
                    <a:pt x="2102" y="58"/>
                  </a:lnTo>
                  <a:lnTo>
                    <a:pt x="2211" y="83"/>
                  </a:lnTo>
                  <a:lnTo>
                    <a:pt x="2315" y="111"/>
                  </a:lnTo>
                  <a:lnTo>
                    <a:pt x="2414" y="144"/>
                  </a:lnTo>
                  <a:lnTo>
                    <a:pt x="2506" y="180"/>
                  </a:lnTo>
                  <a:lnTo>
                    <a:pt x="2590" y="217"/>
                  </a:lnTo>
                  <a:lnTo>
                    <a:pt x="2668" y="259"/>
                  </a:lnTo>
                  <a:lnTo>
                    <a:pt x="2740" y="305"/>
                  </a:lnTo>
                  <a:lnTo>
                    <a:pt x="2802" y="351"/>
                  </a:lnTo>
                  <a:lnTo>
                    <a:pt x="2857" y="401"/>
                  </a:lnTo>
                  <a:lnTo>
                    <a:pt x="2902" y="453"/>
                  </a:lnTo>
                  <a:lnTo>
                    <a:pt x="2938" y="506"/>
                  </a:lnTo>
                  <a:lnTo>
                    <a:pt x="2964" y="562"/>
                  </a:lnTo>
                  <a:lnTo>
                    <a:pt x="2980" y="619"/>
                  </a:lnTo>
                  <a:lnTo>
                    <a:pt x="2986" y="678"/>
                  </a:lnTo>
                  <a:lnTo>
                    <a:pt x="2986" y="825"/>
                  </a:lnTo>
                  <a:lnTo>
                    <a:pt x="2980" y="883"/>
                  </a:lnTo>
                  <a:lnTo>
                    <a:pt x="2964" y="941"/>
                  </a:lnTo>
                  <a:lnTo>
                    <a:pt x="2938" y="995"/>
                  </a:lnTo>
                  <a:lnTo>
                    <a:pt x="2902" y="1050"/>
                  </a:lnTo>
                  <a:lnTo>
                    <a:pt x="2857" y="1102"/>
                  </a:lnTo>
                  <a:lnTo>
                    <a:pt x="2802" y="1150"/>
                  </a:lnTo>
                  <a:lnTo>
                    <a:pt x="2740" y="1198"/>
                  </a:lnTo>
                  <a:lnTo>
                    <a:pt x="2668" y="1242"/>
                  </a:lnTo>
                  <a:lnTo>
                    <a:pt x="2590" y="1284"/>
                  </a:lnTo>
                  <a:lnTo>
                    <a:pt x="2506" y="1323"/>
                  </a:lnTo>
                  <a:lnTo>
                    <a:pt x="2414" y="1358"/>
                  </a:lnTo>
                  <a:lnTo>
                    <a:pt x="2315" y="1391"/>
                  </a:lnTo>
                  <a:lnTo>
                    <a:pt x="2211" y="1419"/>
                  </a:lnTo>
                  <a:lnTo>
                    <a:pt x="2102" y="1444"/>
                  </a:lnTo>
                  <a:lnTo>
                    <a:pt x="1988" y="1464"/>
                  </a:lnTo>
                  <a:lnTo>
                    <a:pt x="1869" y="1481"/>
                  </a:lnTo>
                  <a:lnTo>
                    <a:pt x="1747" y="1492"/>
                  </a:lnTo>
                  <a:lnTo>
                    <a:pt x="1623" y="1500"/>
                  </a:lnTo>
                  <a:lnTo>
                    <a:pt x="1493" y="1503"/>
                  </a:lnTo>
                  <a:lnTo>
                    <a:pt x="1364" y="1500"/>
                  </a:lnTo>
                  <a:lnTo>
                    <a:pt x="1239" y="1492"/>
                  </a:lnTo>
                  <a:lnTo>
                    <a:pt x="1117" y="1481"/>
                  </a:lnTo>
                  <a:lnTo>
                    <a:pt x="999" y="1464"/>
                  </a:lnTo>
                  <a:lnTo>
                    <a:pt x="885" y="1444"/>
                  </a:lnTo>
                  <a:lnTo>
                    <a:pt x="776" y="1419"/>
                  </a:lnTo>
                  <a:lnTo>
                    <a:pt x="671" y="1391"/>
                  </a:lnTo>
                  <a:lnTo>
                    <a:pt x="573" y="1358"/>
                  </a:lnTo>
                  <a:lnTo>
                    <a:pt x="481" y="1323"/>
                  </a:lnTo>
                  <a:lnTo>
                    <a:pt x="396" y="1284"/>
                  </a:lnTo>
                  <a:lnTo>
                    <a:pt x="318" y="1242"/>
                  </a:lnTo>
                  <a:lnTo>
                    <a:pt x="247" y="1198"/>
                  </a:lnTo>
                  <a:lnTo>
                    <a:pt x="184" y="1150"/>
                  </a:lnTo>
                  <a:lnTo>
                    <a:pt x="130" y="1102"/>
                  </a:lnTo>
                  <a:lnTo>
                    <a:pt x="84" y="1050"/>
                  </a:lnTo>
                  <a:lnTo>
                    <a:pt x="49" y="995"/>
                  </a:lnTo>
                  <a:lnTo>
                    <a:pt x="22" y="941"/>
                  </a:lnTo>
                  <a:lnTo>
                    <a:pt x="6" y="883"/>
                  </a:lnTo>
                  <a:lnTo>
                    <a:pt x="0" y="825"/>
                  </a:lnTo>
                  <a:lnTo>
                    <a:pt x="0" y="678"/>
                  </a:lnTo>
                  <a:lnTo>
                    <a:pt x="6" y="619"/>
                  </a:lnTo>
                  <a:lnTo>
                    <a:pt x="22" y="562"/>
                  </a:lnTo>
                  <a:lnTo>
                    <a:pt x="49" y="506"/>
                  </a:lnTo>
                  <a:lnTo>
                    <a:pt x="84" y="453"/>
                  </a:lnTo>
                  <a:lnTo>
                    <a:pt x="130" y="401"/>
                  </a:lnTo>
                  <a:lnTo>
                    <a:pt x="184" y="351"/>
                  </a:lnTo>
                  <a:lnTo>
                    <a:pt x="247" y="305"/>
                  </a:lnTo>
                  <a:lnTo>
                    <a:pt x="318" y="259"/>
                  </a:lnTo>
                  <a:lnTo>
                    <a:pt x="396" y="217"/>
                  </a:lnTo>
                  <a:lnTo>
                    <a:pt x="481" y="180"/>
                  </a:lnTo>
                  <a:lnTo>
                    <a:pt x="573" y="144"/>
                  </a:lnTo>
                  <a:lnTo>
                    <a:pt x="671" y="111"/>
                  </a:lnTo>
                  <a:lnTo>
                    <a:pt x="776" y="83"/>
                  </a:lnTo>
                  <a:lnTo>
                    <a:pt x="885" y="58"/>
                  </a:lnTo>
                  <a:lnTo>
                    <a:pt x="999" y="37"/>
                  </a:lnTo>
                  <a:lnTo>
                    <a:pt x="1117" y="22"/>
                  </a:lnTo>
                  <a:lnTo>
                    <a:pt x="1239" y="9"/>
                  </a:lnTo>
                  <a:lnTo>
                    <a:pt x="1364" y="1"/>
                  </a:lnTo>
                  <a:lnTo>
                    <a:pt x="1493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8" name="Freeform 96"/>
            <p:cNvSpPr>
              <a:spLocks/>
            </p:cNvSpPr>
            <p:nvPr/>
          </p:nvSpPr>
          <p:spPr bwMode="auto">
            <a:xfrm>
              <a:off x="2669" y="1663"/>
              <a:ext cx="1493" cy="482"/>
            </a:xfrm>
            <a:custGeom>
              <a:avLst/>
              <a:gdLst>
                <a:gd name="T0" fmla="*/ 16 w 2986"/>
                <a:gd name="T1" fmla="*/ 13 h 965"/>
                <a:gd name="T2" fmla="*/ 37 w 2986"/>
                <a:gd name="T3" fmla="*/ 38 h 965"/>
                <a:gd name="T4" fmla="*/ 67 w 2986"/>
                <a:gd name="T5" fmla="*/ 62 h 965"/>
                <a:gd name="T6" fmla="*/ 105 w 2986"/>
                <a:gd name="T7" fmla="*/ 83 h 965"/>
                <a:gd name="T8" fmla="*/ 148 w 2986"/>
                <a:gd name="T9" fmla="*/ 100 h 965"/>
                <a:gd name="T10" fmla="*/ 198 w 2986"/>
                <a:gd name="T11" fmla="*/ 115 h 965"/>
                <a:gd name="T12" fmla="*/ 253 w 2986"/>
                <a:gd name="T13" fmla="*/ 126 h 965"/>
                <a:gd name="T14" fmla="*/ 312 w 2986"/>
                <a:gd name="T15" fmla="*/ 132 h 965"/>
                <a:gd name="T16" fmla="*/ 374 w 2986"/>
                <a:gd name="T17" fmla="*/ 134 h 965"/>
                <a:gd name="T18" fmla="*/ 436 w 2986"/>
                <a:gd name="T19" fmla="*/ 132 h 965"/>
                <a:gd name="T20" fmla="*/ 495 w 2986"/>
                <a:gd name="T21" fmla="*/ 126 h 965"/>
                <a:gd name="T22" fmla="*/ 549 w 2986"/>
                <a:gd name="T23" fmla="*/ 115 h 965"/>
                <a:gd name="T24" fmla="*/ 599 w 2986"/>
                <a:gd name="T25" fmla="*/ 100 h 965"/>
                <a:gd name="T26" fmla="*/ 643 w 2986"/>
                <a:gd name="T27" fmla="*/ 83 h 965"/>
                <a:gd name="T28" fmla="*/ 680 w 2986"/>
                <a:gd name="T29" fmla="*/ 62 h 965"/>
                <a:gd name="T30" fmla="*/ 710 w 2986"/>
                <a:gd name="T31" fmla="*/ 38 h 965"/>
                <a:gd name="T32" fmla="*/ 732 w 2986"/>
                <a:gd name="T33" fmla="*/ 13 h 965"/>
                <a:gd name="T34" fmla="*/ 743 w 2986"/>
                <a:gd name="T35" fmla="*/ 11 h 965"/>
                <a:gd name="T36" fmla="*/ 747 w 2986"/>
                <a:gd name="T37" fmla="*/ 34 h 965"/>
                <a:gd name="T38" fmla="*/ 745 w 2986"/>
                <a:gd name="T39" fmla="*/ 86 h 965"/>
                <a:gd name="T40" fmla="*/ 735 w 2986"/>
                <a:gd name="T41" fmla="*/ 114 h 965"/>
                <a:gd name="T42" fmla="*/ 715 w 2986"/>
                <a:gd name="T43" fmla="*/ 140 h 965"/>
                <a:gd name="T44" fmla="*/ 685 w 2986"/>
                <a:gd name="T45" fmla="*/ 165 h 965"/>
                <a:gd name="T46" fmla="*/ 648 w 2986"/>
                <a:gd name="T47" fmla="*/ 186 h 965"/>
                <a:gd name="T48" fmla="*/ 604 w 2986"/>
                <a:gd name="T49" fmla="*/ 205 h 965"/>
                <a:gd name="T50" fmla="*/ 553 w 2986"/>
                <a:gd name="T51" fmla="*/ 220 h 965"/>
                <a:gd name="T52" fmla="*/ 497 w 2986"/>
                <a:gd name="T53" fmla="*/ 231 h 965"/>
                <a:gd name="T54" fmla="*/ 437 w 2986"/>
                <a:gd name="T55" fmla="*/ 238 h 965"/>
                <a:gd name="T56" fmla="*/ 374 w 2986"/>
                <a:gd name="T57" fmla="*/ 241 h 965"/>
                <a:gd name="T58" fmla="*/ 310 w 2986"/>
                <a:gd name="T59" fmla="*/ 238 h 965"/>
                <a:gd name="T60" fmla="*/ 250 w 2986"/>
                <a:gd name="T61" fmla="*/ 231 h 965"/>
                <a:gd name="T62" fmla="*/ 194 w 2986"/>
                <a:gd name="T63" fmla="*/ 220 h 965"/>
                <a:gd name="T64" fmla="*/ 144 w 2986"/>
                <a:gd name="T65" fmla="*/ 205 h 965"/>
                <a:gd name="T66" fmla="*/ 99 w 2986"/>
                <a:gd name="T67" fmla="*/ 186 h 965"/>
                <a:gd name="T68" fmla="*/ 62 w 2986"/>
                <a:gd name="T69" fmla="*/ 165 h 965"/>
                <a:gd name="T70" fmla="*/ 33 w 2986"/>
                <a:gd name="T71" fmla="*/ 140 h 965"/>
                <a:gd name="T72" fmla="*/ 13 w 2986"/>
                <a:gd name="T73" fmla="*/ 114 h 965"/>
                <a:gd name="T74" fmla="*/ 2 w 2986"/>
                <a:gd name="T75" fmla="*/ 86 h 965"/>
                <a:gd name="T76" fmla="*/ 0 w 2986"/>
                <a:gd name="T77" fmla="*/ 34 h 965"/>
                <a:gd name="T78" fmla="*/ 4 w 2986"/>
                <a:gd name="T79" fmla="*/ 11 h 96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5">
                  <a:moveTo>
                    <a:pt x="31" y="0"/>
                  </a:moveTo>
                  <a:lnTo>
                    <a:pt x="61" y="53"/>
                  </a:lnTo>
                  <a:lnTo>
                    <a:pt x="100" y="107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8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4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4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8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7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3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5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3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29" name="Freeform 97"/>
            <p:cNvSpPr>
              <a:spLocks/>
            </p:cNvSpPr>
            <p:nvPr/>
          </p:nvSpPr>
          <p:spPr bwMode="auto">
            <a:xfrm>
              <a:off x="2669" y="2042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91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2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8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8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2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91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7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3"/>
                  </a:lnTo>
                  <a:lnTo>
                    <a:pt x="1747" y="954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4"/>
                  </a:lnTo>
                  <a:lnTo>
                    <a:pt x="1117" y="943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7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30" name="Freeform 98"/>
            <p:cNvSpPr>
              <a:spLocks/>
            </p:cNvSpPr>
            <p:nvPr/>
          </p:nvSpPr>
          <p:spPr bwMode="auto">
            <a:xfrm>
              <a:off x="2669" y="2440"/>
              <a:ext cx="1493" cy="482"/>
            </a:xfrm>
            <a:custGeom>
              <a:avLst/>
              <a:gdLst>
                <a:gd name="T0" fmla="*/ 16 w 2986"/>
                <a:gd name="T1" fmla="*/ 14 h 964"/>
                <a:gd name="T2" fmla="*/ 37 w 2986"/>
                <a:gd name="T3" fmla="*/ 39 h 964"/>
                <a:gd name="T4" fmla="*/ 67 w 2986"/>
                <a:gd name="T5" fmla="*/ 63 h 964"/>
                <a:gd name="T6" fmla="*/ 105 w 2986"/>
                <a:gd name="T7" fmla="*/ 83 h 964"/>
                <a:gd name="T8" fmla="*/ 148 w 2986"/>
                <a:gd name="T9" fmla="*/ 101 h 964"/>
                <a:gd name="T10" fmla="*/ 198 w 2986"/>
                <a:gd name="T11" fmla="*/ 115 h 964"/>
                <a:gd name="T12" fmla="*/ 253 w 2986"/>
                <a:gd name="T13" fmla="*/ 126 h 964"/>
                <a:gd name="T14" fmla="*/ 312 w 2986"/>
                <a:gd name="T15" fmla="*/ 133 h 964"/>
                <a:gd name="T16" fmla="*/ 374 w 2986"/>
                <a:gd name="T17" fmla="*/ 135 h 964"/>
                <a:gd name="T18" fmla="*/ 436 w 2986"/>
                <a:gd name="T19" fmla="*/ 133 h 964"/>
                <a:gd name="T20" fmla="*/ 495 w 2986"/>
                <a:gd name="T21" fmla="*/ 126 h 964"/>
                <a:gd name="T22" fmla="*/ 549 w 2986"/>
                <a:gd name="T23" fmla="*/ 115 h 964"/>
                <a:gd name="T24" fmla="*/ 599 w 2986"/>
                <a:gd name="T25" fmla="*/ 101 h 964"/>
                <a:gd name="T26" fmla="*/ 643 w 2986"/>
                <a:gd name="T27" fmla="*/ 83 h 964"/>
                <a:gd name="T28" fmla="*/ 680 w 2986"/>
                <a:gd name="T29" fmla="*/ 63 h 964"/>
                <a:gd name="T30" fmla="*/ 710 w 2986"/>
                <a:gd name="T31" fmla="*/ 39 h 964"/>
                <a:gd name="T32" fmla="*/ 732 w 2986"/>
                <a:gd name="T33" fmla="*/ 14 h 964"/>
                <a:gd name="T34" fmla="*/ 743 w 2986"/>
                <a:gd name="T35" fmla="*/ 12 h 964"/>
                <a:gd name="T36" fmla="*/ 747 w 2986"/>
                <a:gd name="T37" fmla="*/ 35 h 964"/>
                <a:gd name="T38" fmla="*/ 745 w 2986"/>
                <a:gd name="T39" fmla="*/ 87 h 964"/>
                <a:gd name="T40" fmla="*/ 735 w 2986"/>
                <a:gd name="T41" fmla="*/ 115 h 964"/>
                <a:gd name="T42" fmla="*/ 715 w 2986"/>
                <a:gd name="T43" fmla="*/ 141 h 964"/>
                <a:gd name="T44" fmla="*/ 685 w 2986"/>
                <a:gd name="T45" fmla="*/ 165 h 964"/>
                <a:gd name="T46" fmla="*/ 648 w 2986"/>
                <a:gd name="T47" fmla="*/ 187 h 964"/>
                <a:gd name="T48" fmla="*/ 604 w 2986"/>
                <a:gd name="T49" fmla="*/ 206 h 964"/>
                <a:gd name="T50" fmla="*/ 553 w 2986"/>
                <a:gd name="T51" fmla="*/ 221 h 964"/>
                <a:gd name="T52" fmla="*/ 497 w 2986"/>
                <a:gd name="T53" fmla="*/ 232 h 964"/>
                <a:gd name="T54" fmla="*/ 437 w 2986"/>
                <a:gd name="T55" fmla="*/ 239 h 964"/>
                <a:gd name="T56" fmla="*/ 374 w 2986"/>
                <a:gd name="T57" fmla="*/ 241 h 964"/>
                <a:gd name="T58" fmla="*/ 310 w 2986"/>
                <a:gd name="T59" fmla="*/ 239 h 964"/>
                <a:gd name="T60" fmla="*/ 250 w 2986"/>
                <a:gd name="T61" fmla="*/ 232 h 964"/>
                <a:gd name="T62" fmla="*/ 194 w 2986"/>
                <a:gd name="T63" fmla="*/ 221 h 964"/>
                <a:gd name="T64" fmla="*/ 144 w 2986"/>
                <a:gd name="T65" fmla="*/ 206 h 964"/>
                <a:gd name="T66" fmla="*/ 99 w 2986"/>
                <a:gd name="T67" fmla="*/ 187 h 964"/>
                <a:gd name="T68" fmla="*/ 62 w 2986"/>
                <a:gd name="T69" fmla="*/ 165 h 964"/>
                <a:gd name="T70" fmla="*/ 33 w 2986"/>
                <a:gd name="T71" fmla="*/ 141 h 964"/>
                <a:gd name="T72" fmla="*/ 13 w 2986"/>
                <a:gd name="T73" fmla="*/ 115 h 964"/>
                <a:gd name="T74" fmla="*/ 2 w 2986"/>
                <a:gd name="T75" fmla="*/ 87 h 964"/>
                <a:gd name="T76" fmla="*/ 0 w 2986"/>
                <a:gd name="T77" fmla="*/ 35 h 964"/>
                <a:gd name="T78" fmla="*/ 4 w 2986"/>
                <a:gd name="T79" fmla="*/ 12 h 9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4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3"/>
                  </a:lnTo>
                  <a:lnTo>
                    <a:pt x="267" y="249"/>
                  </a:lnTo>
                  <a:lnTo>
                    <a:pt x="339" y="291"/>
                  </a:lnTo>
                  <a:lnTo>
                    <a:pt x="417" y="332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3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3"/>
                  </a:lnTo>
                  <a:lnTo>
                    <a:pt x="1125" y="519"/>
                  </a:lnTo>
                  <a:lnTo>
                    <a:pt x="1245" y="530"/>
                  </a:lnTo>
                  <a:lnTo>
                    <a:pt x="1367" y="538"/>
                  </a:lnTo>
                  <a:lnTo>
                    <a:pt x="1493" y="539"/>
                  </a:lnTo>
                  <a:lnTo>
                    <a:pt x="1620" y="538"/>
                  </a:lnTo>
                  <a:lnTo>
                    <a:pt x="1741" y="530"/>
                  </a:lnTo>
                  <a:lnTo>
                    <a:pt x="1861" y="519"/>
                  </a:lnTo>
                  <a:lnTo>
                    <a:pt x="1977" y="503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3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2"/>
                  </a:lnTo>
                  <a:lnTo>
                    <a:pt x="2648" y="291"/>
                  </a:lnTo>
                  <a:lnTo>
                    <a:pt x="2719" y="249"/>
                  </a:lnTo>
                  <a:lnTo>
                    <a:pt x="2783" y="203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6"/>
                  </a:lnTo>
                  <a:lnTo>
                    <a:pt x="2981" y="92"/>
                  </a:lnTo>
                  <a:lnTo>
                    <a:pt x="2986" y="139"/>
                  </a:lnTo>
                  <a:lnTo>
                    <a:pt x="2986" y="286"/>
                  </a:lnTo>
                  <a:lnTo>
                    <a:pt x="2980" y="346"/>
                  </a:lnTo>
                  <a:lnTo>
                    <a:pt x="2964" y="402"/>
                  </a:lnTo>
                  <a:lnTo>
                    <a:pt x="2938" y="458"/>
                  </a:lnTo>
                  <a:lnTo>
                    <a:pt x="2902" y="511"/>
                  </a:lnTo>
                  <a:lnTo>
                    <a:pt x="2857" y="563"/>
                  </a:lnTo>
                  <a:lnTo>
                    <a:pt x="2802" y="613"/>
                  </a:lnTo>
                  <a:lnTo>
                    <a:pt x="2740" y="660"/>
                  </a:lnTo>
                  <a:lnTo>
                    <a:pt x="2668" y="705"/>
                  </a:lnTo>
                  <a:lnTo>
                    <a:pt x="2590" y="746"/>
                  </a:lnTo>
                  <a:lnTo>
                    <a:pt x="2506" y="785"/>
                  </a:lnTo>
                  <a:lnTo>
                    <a:pt x="2414" y="821"/>
                  </a:lnTo>
                  <a:lnTo>
                    <a:pt x="2315" y="852"/>
                  </a:lnTo>
                  <a:lnTo>
                    <a:pt x="2211" y="882"/>
                  </a:lnTo>
                  <a:lnTo>
                    <a:pt x="2102" y="905"/>
                  </a:lnTo>
                  <a:lnTo>
                    <a:pt x="1988" y="927"/>
                  </a:lnTo>
                  <a:lnTo>
                    <a:pt x="1869" y="943"/>
                  </a:lnTo>
                  <a:lnTo>
                    <a:pt x="1747" y="955"/>
                  </a:lnTo>
                  <a:lnTo>
                    <a:pt x="1623" y="961"/>
                  </a:lnTo>
                  <a:lnTo>
                    <a:pt x="1493" y="964"/>
                  </a:lnTo>
                  <a:lnTo>
                    <a:pt x="1364" y="961"/>
                  </a:lnTo>
                  <a:lnTo>
                    <a:pt x="1239" y="955"/>
                  </a:lnTo>
                  <a:lnTo>
                    <a:pt x="1117" y="943"/>
                  </a:lnTo>
                  <a:lnTo>
                    <a:pt x="999" y="927"/>
                  </a:lnTo>
                  <a:lnTo>
                    <a:pt x="885" y="905"/>
                  </a:lnTo>
                  <a:lnTo>
                    <a:pt x="776" y="882"/>
                  </a:lnTo>
                  <a:lnTo>
                    <a:pt x="671" y="852"/>
                  </a:lnTo>
                  <a:lnTo>
                    <a:pt x="573" y="821"/>
                  </a:lnTo>
                  <a:lnTo>
                    <a:pt x="481" y="785"/>
                  </a:lnTo>
                  <a:lnTo>
                    <a:pt x="396" y="746"/>
                  </a:lnTo>
                  <a:lnTo>
                    <a:pt x="318" y="705"/>
                  </a:lnTo>
                  <a:lnTo>
                    <a:pt x="247" y="660"/>
                  </a:lnTo>
                  <a:lnTo>
                    <a:pt x="184" y="613"/>
                  </a:lnTo>
                  <a:lnTo>
                    <a:pt x="130" y="563"/>
                  </a:lnTo>
                  <a:lnTo>
                    <a:pt x="84" y="511"/>
                  </a:lnTo>
                  <a:lnTo>
                    <a:pt x="49" y="458"/>
                  </a:lnTo>
                  <a:lnTo>
                    <a:pt x="22" y="402"/>
                  </a:lnTo>
                  <a:lnTo>
                    <a:pt x="6" y="346"/>
                  </a:lnTo>
                  <a:lnTo>
                    <a:pt x="0" y="286"/>
                  </a:lnTo>
                  <a:lnTo>
                    <a:pt x="0" y="139"/>
                  </a:lnTo>
                  <a:lnTo>
                    <a:pt x="5" y="92"/>
                  </a:lnTo>
                  <a:lnTo>
                    <a:pt x="14" y="4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  <p:sp>
          <p:nvSpPr>
            <p:cNvPr id="131" name="Freeform 99"/>
            <p:cNvSpPr>
              <a:spLocks/>
            </p:cNvSpPr>
            <p:nvPr/>
          </p:nvSpPr>
          <p:spPr bwMode="auto">
            <a:xfrm>
              <a:off x="2669" y="2819"/>
              <a:ext cx="1493" cy="481"/>
            </a:xfrm>
            <a:custGeom>
              <a:avLst/>
              <a:gdLst>
                <a:gd name="T0" fmla="*/ 16 w 2986"/>
                <a:gd name="T1" fmla="*/ 13 h 963"/>
                <a:gd name="T2" fmla="*/ 37 w 2986"/>
                <a:gd name="T3" fmla="*/ 38 h 963"/>
                <a:gd name="T4" fmla="*/ 67 w 2986"/>
                <a:gd name="T5" fmla="*/ 61 h 963"/>
                <a:gd name="T6" fmla="*/ 105 w 2986"/>
                <a:gd name="T7" fmla="*/ 82 h 963"/>
                <a:gd name="T8" fmla="*/ 148 w 2986"/>
                <a:gd name="T9" fmla="*/ 100 h 963"/>
                <a:gd name="T10" fmla="*/ 198 w 2986"/>
                <a:gd name="T11" fmla="*/ 115 h 963"/>
                <a:gd name="T12" fmla="*/ 253 w 2986"/>
                <a:gd name="T13" fmla="*/ 125 h 963"/>
                <a:gd name="T14" fmla="*/ 312 w 2986"/>
                <a:gd name="T15" fmla="*/ 132 h 963"/>
                <a:gd name="T16" fmla="*/ 374 w 2986"/>
                <a:gd name="T17" fmla="*/ 134 h 963"/>
                <a:gd name="T18" fmla="*/ 436 w 2986"/>
                <a:gd name="T19" fmla="*/ 132 h 963"/>
                <a:gd name="T20" fmla="*/ 495 w 2986"/>
                <a:gd name="T21" fmla="*/ 125 h 963"/>
                <a:gd name="T22" fmla="*/ 549 w 2986"/>
                <a:gd name="T23" fmla="*/ 115 h 963"/>
                <a:gd name="T24" fmla="*/ 599 w 2986"/>
                <a:gd name="T25" fmla="*/ 100 h 963"/>
                <a:gd name="T26" fmla="*/ 643 w 2986"/>
                <a:gd name="T27" fmla="*/ 82 h 963"/>
                <a:gd name="T28" fmla="*/ 680 w 2986"/>
                <a:gd name="T29" fmla="*/ 61 h 963"/>
                <a:gd name="T30" fmla="*/ 710 w 2986"/>
                <a:gd name="T31" fmla="*/ 38 h 963"/>
                <a:gd name="T32" fmla="*/ 732 w 2986"/>
                <a:gd name="T33" fmla="*/ 13 h 963"/>
                <a:gd name="T34" fmla="*/ 743 w 2986"/>
                <a:gd name="T35" fmla="*/ 11 h 963"/>
                <a:gd name="T36" fmla="*/ 747 w 2986"/>
                <a:gd name="T37" fmla="*/ 34 h 963"/>
                <a:gd name="T38" fmla="*/ 745 w 2986"/>
                <a:gd name="T39" fmla="*/ 86 h 963"/>
                <a:gd name="T40" fmla="*/ 735 w 2986"/>
                <a:gd name="T41" fmla="*/ 114 h 963"/>
                <a:gd name="T42" fmla="*/ 715 w 2986"/>
                <a:gd name="T43" fmla="*/ 140 h 963"/>
                <a:gd name="T44" fmla="*/ 685 w 2986"/>
                <a:gd name="T45" fmla="*/ 164 h 963"/>
                <a:gd name="T46" fmla="*/ 648 w 2986"/>
                <a:gd name="T47" fmla="*/ 186 h 963"/>
                <a:gd name="T48" fmla="*/ 604 w 2986"/>
                <a:gd name="T49" fmla="*/ 204 h 963"/>
                <a:gd name="T50" fmla="*/ 553 w 2986"/>
                <a:gd name="T51" fmla="*/ 220 h 963"/>
                <a:gd name="T52" fmla="*/ 497 w 2986"/>
                <a:gd name="T53" fmla="*/ 231 h 963"/>
                <a:gd name="T54" fmla="*/ 437 w 2986"/>
                <a:gd name="T55" fmla="*/ 238 h 963"/>
                <a:gd name="T56" fmla="*/ 374 w 2986"/>
                <a:gd name="T57" fmla="*/ 240 h 963"/>
                <a:gd name="T58" fmla="*/ 310 w 2986"/>
                <a:gd name="T59" fmla="*/ 238 h 963"/>
                <a:gd name="T60" fmla="*/ 250 w 2986"/>
                <a:gd name="T61" fmla="*/ 231 h 963"/>
                <a:gd name="T62" fmla="*/ 194 w 2986"/>
                <a:gd name="T63" fmla="*/ 220 h 963"/>
                <a:gd name="T64" fmla="*/ 144 w 2986"/>
                <a:gd name="T65" fmla="*/ 204 h 963"/>
                <a:gd name="T66" fmla="*/ 99 w 2986"/>
                <a:gd name="T67" fmla="*/ 186 h 963"/>
                <a:gd name="T68" fmla="*/ 62 w 2986"/>
                <a:gd name="T69" fmla="*/ 164 h 963"/>
                <a:gd name="T70" fmla="*/ 33 w 2986"/>
                <a:gd name="T71" fmla="*/ 140 h 963"/>
                <a:gd name="T72" fmla="*/ 13 w 2986"/>
                <a:gd name="T73" fmla="*/ 114 h 963"/>
                <a:gd name="T74" fmla="*/ 2 w 2986"/>
                <a:gd name="T75" fmla="*/ 86 h 963"/>
                <a:gd name="T76" fmla="*/ 0 w 2986"/>
                <a:gd name="T77" fmla="*/ 34 h 963"/>
                <a:gd name="T78" fmla="*/ 4 w 2986"/>
                <a:gd name="T79" fmla="*/ 11 h 96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86" h="963">
                  <a:moveTo>
                    <a:pt x="31" y="0"/>
                  </a:moveTo>
                  <a:lnTo>
                    <a:pt x="61" y="53"/>
                  </a:lnTo>
                  <a:lnTo>
                    <a:pt x="100" y="105"/>
                  </a:lnTo>
                  <a:lnTo>
                    <a:pt x="148" y="155"/>
                  </a:lnTo>
                  <a:lnTo>
                    <a:pt x="203" y="202"/>
                  </a:lnTo>
                  <a:lnTo>
                    <a:pt x="267" y="247"/>
                  </a:lnTo>
                  <a:lnTo>
                    <a:pt x="339" y="289"/>
                  </a:lnTo>
                  <a:lnTo>
                    <a:pt x="417" y="330"/>
                  </a:lnTo>
                  <a:lnTo>
                    <a:pt x="501" y="367"/>
                  </a:lnTo>
                  <a:lnTo>
                    <a:pt x="591" y="402"/>
                  </a:lnTo>
                  <a:lnTo>
                    <a:pt x="688" y="431"/>
                  </a:lnTo>
                  <a:lnTo>
                    <a:pt x="791" y="460"/>
                  </a:lnTo>
                  <a:lnTo>
                    <a:pt x="897" y="483"/>
                  </a:lnTo>
                  <a:lnTo>
                    <a:pt x="1010" y="502"/>
                  </a:lnTo>
                  <a:lnTo>
                    <a:pt x="1125" y="517"/>
                  </a:lnTo>
                  <a:lnTo>
                    <a:pt x="1245" y="530"/>
                  </a:lnTo>
                  <a:lnTo>
                    <a:pt x="1367" y="536"/>
                  </a:lnTo>
                  <a:lnTo>
                    <a:pt x="1493" y="539"/>
                  </a:lnTo>
                  <a:lnTo>
                    <a:pt x="1620" y="536"/>
                  </a:lnTo>
                  <a:lnTo>
                    <a:pt x="1741" y="530"/>
                  </a:lnTo>
                  <a:lnTo>
                    <a:pt x="1861" y="517"/>
                  </a:lnTo>
                  <a:lnTo>
                    <a:pt x="1977" y="502"/>
                  </a:lnTo>
                  <a:lnTo>
                    <a:pt x="2089" y="483"/>
                  </a:lnTo>
                  <a:lnTo>
                    <a:pt x="2195" y="460"/>
                  </a:lnTo>
                  <a:lnTo>
                    <a:pt x="2298" y="431"/>
                  </a:lnTo>
                  <a:lnTo>
                    <a:pt x="2395" y="402"/>
                  </a:lnTo>
                  <a:lnTo>
                    <a:pt x="2485" y="367"/>
                  </a:lnTo>
                  <a:lnTo>
                    <a:pt x="2570" y="330"/>
                  </a:lnTo>
                  <a:lnTo>
                    <a:pt x="2648" y="289"/>
                  </a:lnTo>
                  <a:lnTo>
                    <a:pt x="2719" y="247"/>
                  </a:lnTo>
                  <a:lnTo>
                    <a:pt x="2783" y="202"/>
                  </a:lnTo>
                  <a:lnTo>
                    <a:pt x="2838" y="155"/>
                  </a:lnTo>
                  <a:lnTo>
                    <a:pt x="2886" y="105"/>
                  </a:lnTo>
                  <a:lnTo>
                    <a:pt x="2925" y="53"/>
                  </a:lnTo>
                  <a:lnTo>
                    <a:pt x="2953" y="0"/>
                  </a:lnTo>
                  <a:lnTo>
                    <a:pt x="2972" y="45"/>
                  </a:lnTo>
                  <a:lnTo>
                    <a:pt x="2981" y="91"/>
                  </a:lnTo>
                  <a:lnTo>
                    <a:pt x="2986" y="138"/>
                  </a:lnTo>
                  <a:lnTo>
                    <a:pt x="2986" y="286"/>
                  </a:lnTo>
                  <a:lnTo>
                    <a:pt x="2980" y="344"/>
                  </a:lnTo>
                  <a:lnTo>
                    <a:pt x="2964" y="402"/>
                  </a:lnTo>
                  <a:lnTo>
                    <a:pt x="2938" y="456"/>
                  </a:lnTo>
                  <a:lnTo>
                    <a:pt x="2902" y="510"/>
                  </a:lnTo>
                  <a:lnTo>
                    <a:pt x="2857" y="563"/>
                  </a:lnTo>
                  <a:lnTo>
                    <a:pt x="2802" y="611"/>
                  </a:lnTo>
                  <a:lnTo>
                    <a:pt x="2740" y="658"/>
                  </a:lnTo>
                  <a:lnTo>
                    <a:pt x="2668" y="703"/>
                  </a:lnTo>
                  <a:lnTo>
                    <a:pt x="2590" y="746"/>
                  </a:lnTo>
                  <a:lnTo>
                    <a:pt x="2506" y="783"/>
                  </a:lnTo>
                  <a:lnTo>
                    <a:pt x="2414" y="819"/>
                  </a:lnTo>
                  <a:lnTo>
                    <a:pt x="2315" y="852"/>
                  </a:lnTo>
                  <a:lnTo>
                    <a:pt x="2211" y="880"/>
                  </a:lnTo>
                  <a:lnTo>
                    <a:pt x="2102" y="905"/>
                  </a:lnTo>
                  <a:lnTo>
                    <a:pt x="1988" y="925"/>
                  </a:lnTo>
                  <a:lnTo>
                    <a:pt x="1869" y="941"/>
                  </a:lnTo>
                  <a:lnTo>
                    <a:pt x="1747" y="953"/>
                  </a:lnTo>
                  <a:lnTo>
                    <a:pt x="1623" y="961"/>
                  </a:lnTo>
                  <a:lnTo>
                    <a:pt x="1493" y="963"/>
                  </a:lnTo>
                  <a:lnTo>
                    <a:pt x="1364" y="961"/>
                  </a:lnTo>
                  <a:lnTo>
                    <a:pt x="1239" y="953"/>
                  </a:lnTo>
                  <a:lnTo>
                    <a:pt x="1117" y="941"/>
                  </a:lnTo>
                  <a:lnTo>
                    <a:pt x="999" y="925"/>
                  </a:lnTo>
                  <a:lnTo>
                    <a:pt x="885" y="905"/>
                  </a:lnTo>
                  <a:lnTo>
                    <a:pt x="776" y="880"/>
                  </a:lnTo>
                  <a:lnTo>
                    <a:pt x="671" y="852"/>
                  </a:lnTo>
                  <a:lnTo>
                    <a:pt x="573" y="819"/>
                  </a:lnTo>
                  <a:lnTo>
                    <a:pt x="481" y="783"/>
                  </a:lnTo>
                  <a:lnTo>
                    <a:pt x="396" y="746"/>
                  </a:lnTo>
                  <a:lnTo>
                    <a:pt x="318" y="703"/>
                  </a:lnTo>
                  <a:lnTo>
                    <a:pt x="247" y="658"/>
                  </a:lnTo>
                  <a:lnTo>
                    <a:pt x="184" y="611"/>
                  </a:lnTo>
                  <a:lnTo>
                    <a:pt x="130" y="563"/>
                  </a:lnTo>
                  <a:lnTo>
                    <a:pt x="84" y="510"/>
                  </a:lnTo>
                  <a:lnTo>
                    <a:pt x="49" y="456"/>
                  </a:lnTo>
                  <a:lnTo>
                    <a:pt x="22" y="402"/>
                  </a:lnTo>
                  <a:lnTo>
                    <a:pt x="6" y="344"/>
                  </a:lnTo>
                  <a:lnTo>
                    <a:pt x="0" y="286"/>
                  </a:lnTo>
                  <a:lnTo>
                    <a:pt x="0" y="138"/>
                  </a:lnTo>
                  <a:lnTo>
                    <a:pt x="5" y="91"/>
                  </a:lnTo>
                  <a:lnTo>
                    <a:pt x="14" y="4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43D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uk-UA" dirty="0"/>
            </a:p>
          </p:txBody>
        </p:sp>
      </p:grpSp>
      <p:sp>
        <p:nvSpPr>
          <p:cNvPr id="132" name="Snip Same Side Corner Rectangle 4"/>
          <p:cNvSpPr/>
          <p:nvPr/>
        </p:nvSpPr>
        <p:spPr>
          <a:xfrm>
            <a:off x="1415480" y="3666418"/>
            <a:ext cx="2436588" cy="684000"/>
          </a:xfrm>
          <a:prstGeom prst="snip2Same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uk-UA" sz="2400" b="1" kern="0" dirty="0">
                <a:solidFill>
                  <a:srgbClr val="255286"/>
                </a:solidFill>
                <a:latin typeface="Calibri" pitchFamily="34" charset="0"/>
                <a:ea typeface="MS PGothic" pitchFamily="34" charset="-128"/>
              </a:rPr>
              <a:t>ФІНАНСУВАННЯ </a:t>
            </a:r>
            <a:endParaRPr lang="en-US" sz="2400" b="1" kern="0" dirty="0">
              <a:solidFill>
                <a:srgbClr val="255286"/>
              </a:solidFill>
              <a:latin typeface="Calibri" pitchFamily="34" charset="0"/>
              <a:ea typeface="MS PGothic" pitchFamily="34" charset="-128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>
            <a:off x="4205790" y="1988840"/>
            <a:ext cx="621080" cy="0"/>
          </a:xfrm>
          <a:prstGeom prst="straightConnector1">
            <a:avLst/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 стрелкой 133"/>
          <p:cNvCxnSpPr/>
          <p:nvPr/>
        </p:nvCxnSpPr>
        <p:spPr>
          <a:xfrm>
            <a:off x="6299549" y="1988840"/>
            <a:ext cx="621080" cy="0"/>
          </a:xfrm>
          <a:prstGeom prst="straightConnector1">
            <a:avLst/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 стрелкой 134"/>
          <p:cNvCxnSpPr/>
          <p:nvPr/>
        </p:nvCxnSpPr>
        <p:spPr>
          <a:xfrm flipH="1">
            <a:off x="7608168" y="5089353"/>
            <a:ext cx="540060" cy="0"/>
          </a:xfrm>
          <a:prstGeom prst="straightConnector1">
            <a:avLst/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135"/>
          <p:cNvCxnSpPr/>
          <p:nvPr/>
        </p:nvCxnSpPr>
        <p:spPr>
          <a:xfrm flipH="1">
            <a:off x="5148212" y="5106389"/>
            <a:ext cx="702078" cy="0"/>
          </a:xfrm>
          <a:prstGeom prst="straightConnector1">
            <a:avLst/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 стрелкой 136"/>
          <p:cNvCxnSpPr/>
          <p:nvPr/>
        </p:nvCxnSpPr>
        <p:spPr>
          <a:xfrm flipH="1" flipV="1">
            <a:off x="2711625" y="5106389"/>
            <a:ext cx="622488" cy="38154"/>
          </a:xfrm>
          <a:prstGeom prst="straightConnector1">
            <a:avLst/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/>
          <p:nvPr/>
        </p:nvCxnSpPr>
        <p:spPr>
          <a:xfrm flipH="1">
            <a:off x="9420055" y="1910720"/>
            <a:ext cx="360629" cy="1483916"/>
          </a:xfrm>
          <a:prstGeom prst="bentConnector4">
            <a:avLst>
              <a:gd name="adj1" fmla="val -63389"/>
              <a:gd name="adj2" fmla="val 61524"/>
            </a:avLst>
          </a:prstGeom>
          <a:ln w="57150">
            <a:solidFill>
              <a:srgbClr val="25528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9924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Овал 4"/>
          <p:cNvSpPr/>
          <p:nvPr/>
        </p:nvSpPr>
        <p:spPr>
          <a:xfrm>
            <a:off x="3071664" y="5787437"/>
            <a:ext cx="2160240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доопрацювуються</a:t>
            </a:r>
            <a:endParaRPr lang="uk-UA" sz="1100" dirty="0"/>
          </a:p>
        </p:txBody>
      </p:sp>
      <p:sp>
        <p:nvSpPr>
          <p:cNvPr id="100" name="Овал 4"/>
          <p:cNvSpPr/>
          <p:nvPr/>
        </p:nvSpPr>
        <p:spPr>
          <a:xfrm>
            <a:off x="7032104" y="5787437"/>
            <a:ext cx="1014038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на суму</a:t>
            </a:r>
            <a:endParaRPr lang="uk-UA" sz="1100" dirty="0"/>
          </a:p>
        </p:txBody>
      </p:sp>
      <p:sp>
        <p:nvSpPr>
          <p:cNvPr id="101" name="Овал 4"/>
          <p:cNvSpPr/>
          <p:nvPr/>
        </p:nvSpPr>
        <p:spPr>
          <a:xfrm>
            <a:off x="4871864" y="6031535"/>
            <a:ext cx="2160240" cy="36004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000" dirty="0"/>
              <a:t>проектних заявок</a:t>
            </a:r>
            <a:endParaRPr lang="uk-UA" sz="1200" dirty="0"/>
          </a:p>
        </p:txBody>
      </p:sp>
      <p:sp>
        <p:nvSpPr>
          <p:cNvPr id="85" name="Овал 4"/>
          <p:cNvSpPr/>
          <p:nvPr/>
        </p:nvSpPr>
        <p:spPr>
          <a:xfrm>
            <a:off x="4806786" y="3717033"/>
            <a:ext cx="2297326" cy="668843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800" b="1" dirty="0">
                <a:solidFill>
                  <a:schemeClr val="tx2"/>
                </a:solidFill>
              </a:rPr>
              <a:t>1282</a:t>
            </a:r>
            <a:endParaRPr lang="uk-UA" sz="1050" dirty="0">
              <a:solidFill>
                <a:schemeClr val="tx2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4" y="2132856"/>
            <a:ext cx="2070602" cy="1148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5" y="1916832"/>
            <a:ext cx="2292419" cy="1440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2528" y="1988840"/>
            <a:ext cx="2069976" cy="1482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1199456" y="164270"/>
            <a:ext cx="10297144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800" b="1" dirty="0">
                <a:solidFill>
                  <a:schemeClr val="accent1"/>
                </a:solidFill>
                <a:latin typeface="Calibri" pitchFamily="34" charset="0"/>
              </a:rPr>
              <a:t>СТАН РОЗГЛЯДУ ПРОЕКТНИХ ЗАЯВОК (</a:t>
            </a:r>
            <a:r>
              <a:rPr lang="uk-UA" altLang="ru-RU" sz="2000" b="1" dirty="0">
                <a:solidFill>
                  <a:schemeClr val="accent1"/>
                </a:solidFill>
                <a:latin typeface="Calibri" pitchFamily="34" charset="0"/>
              </a:rPr>
              <a:t>СТАНОМ НА </a:t>
            </a:r>
            <a:r>
              <a:rPr lang="uk-UA" altLang="ru-RU" sz="2000" b="1" dirty="0" smtClean="0">
                <a:solidFill>
                  <a:schemeClr val="accent1"/>
                </a:solidFill>
                <a:latin typeface="Calibri" pitchFamily="34" charset="0"/>
              </a:rPr>
              <a:t>24.11.2016</a:t>
            </a:r>
            <a:r>
              <a:rPr lang="uk-UA" altLang="ru-RU" sz="2800" b="1" dirty="0">
                <a:solidFill>
                  <a:schemeClr val="accent1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71" name="Прямокутник 70"/>
          <p:cNvSpPr/>
          <p:nvPr/>
        </p:nvSpPr>
        <p:spPr>
          <a:xfrm>
            <a:off x="1487488" y="1340768"/>
            <a:ext cx="24971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800" b="1" dirty="0">
                <a:solidFill>
                  <a:schemeClr val="tx2"/>
                </a:solidFill>
              </a:rPr>
              <a:t>159</a:t>
            </a:r>
            <a:endParaRPr lang="uk-UA" sz="2000" dirty="0">
              <a:solidFill>
                <a:schemeClr val="tx2"/>
              </a:solidFill>
            </a:endParaRPr>
          </a:p>
        </p:txBody>
      </p:sp>
      <p:sp>
        <p:nvSpPr>
          <p:cNvPr id="72" name="Прямокутник 71"/>
          <p:cNvSpPr/>
          <p:nvPr/>
        </p:nvSpPr>
        <p:spPr>
          <a:xfrm>
            <a:off x="8112224" y="1394773"/>
            <a:ext cx="2808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800" b="1" dirty="0">
                <a:solidFill>
                  <a:schemeClr val="tx2"/>
                </a:solidFill>
              </a:rPr>
              <a:t>995 593,8 </a:t>
            </a:r>
            <a:r>
              <a:rPr lang="uk-UA" sz="1600" dirty="0">
                <a:solidFill>
                  <a:schemeClr val="tx2"/>
                </a:solidFill>
              </a:rPr>
              <a:t>млн.грн. </a:t>
            </a:r>
          </a:p>
        </p:txBody>
      </p:sp>
      <p:sp>
        <p:nvSpPr>
          <p:cNvPr id="73" name="Овал 4"/>
          <p:cNvSpPr/>
          <p:nvPr/>
        </p:nvSpPr>
        <p:spPr>
          <a:xfrm>
            <a:off x="5094818" y="1052736"/>
            <a:ext cx="2297326" cy="1082888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800" b="1" dirty="0">
                <a:solidFill>
                  <a:srgbClr val="FF0000"/>
                </a:solidFill>
              </a:rPr>
              <a:t>1 292</a:t>
            </a:r>
            <a:endParaRPr lang="uk-UA" sz="1050" dirty="0">
              <a:solidFill>
                <a:srgbClr val="FF0000"/>
              </a:solidFill>
            </a:endParaRPr>
          </a:p>
        </p:txBody>
      </p:sp>
      <p:sp>
        <p:nvSpPr>
          <p:cNvPr id="2" name="Стрілка вправо 1"/>
          <p:cNvSpPr/>
          <p:nvPr/>
        </p:nvSpPr>
        <p:spPr bwMode="auto">
          <a:xfrm>
            <a:off x="3863752" y="2700990"/>
            <a:ext cx="1152128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5" name="Стрілка вправо 74"/>
          <p:cNvSpPr/>
          <p:nvPr/>
        </p:nvSpPr>
        <p:spPr bwMode="auto">
          <a:xfrm>
            <a:off x="7536160" y="2700990"/>
            <a:ext cx="1008112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68" name="Овал 4"/>
          <p:cNvSpPr/>
          <p:nvPr/>
        </p:nvSpPr>
        <p:spPr>
          <a:xfrm>
            <a:off x="7530234" y="2276872"/>
            <a:ext cx="1014038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на суму</a:t>
            </a:r>
            <a:endParaRPr lang="uk-UA" sz="1100" dirty="0"/>
          </a:p>
        </p:txBody>
      </p:sp>
      <p:sp>
        <p:nvSpPr>
          <p:cNvPr id="77" name="Овал 4"/>
          <p:cNvSpPr/>
          <p:nvPr/>
        </p:nvSpPr>
        <p:spPr>
          <a:xfrm>
            <a:off x="5159896" y="1772816"/>
            <a:ext cx="2232248" cy="33478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000" dirty="0"/>
              <a:t>проектних заявок</a:t>
            </a:r>
            <a:endParaRPr lang="uk-UA" sz="1200" dirty="0"/>
          </a:p>
        </p:txBody>
      </p:sp>
      <p:sp>
        <p:nvSpPr>
          <p:cNvPr id="78" name="Прямокутник 77"/>
          <p:cNvSpPr/>
          <p:nvPr/>
        </p:nvSpPr>
        <p:spPr>
          <a:xfrm>
            <a:off x="2029750" y="1700808"/>
            <a:ext cx="13681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000" dirty="0"/>
              <a:t>ОТГ</a:t>
            </a:r>
          </a:p>
        </p:txBody>
      </p:sp>
      <p:sp>
        <p:nvSpPr>
          <p:cNvPr id="80" name="Прямокутник 79"/>
          <p:cNvSpPr/>
          <p:nvPr/>
        </p:nvSpPr>
        <p:spPr>
          <a:xfrm>
            <a:off x="2063552" y="908721"/>
            <a:ext cx="8136904" cy="461665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uk-UA" sz="2400" b="1" dirty="0">
                <a:solidFill>
                  <a:schemeClr val="accent1"/>
                </a:solidFill>
              </a:rPr>
              <a:t>Надійшло на розгляд Мінрегіону</a:t>
            </a:r>
          </a:p>
        </p:txBody>
      </p:sp>
      <p:sp>
        <p:nvSpPr>
          <p:cNvPr id="81" name="Овал 4"/>
          <p:cNvSpPr/>
          <p:nvPr/>
        </p:nvSpPr>
        <p:spPr>
          <a:xfrm>
            <a:off x="3791744" y="2276872"/>
            <a:ext cx="1158054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надійшло</a:t>
            </a:r>
            <a:endParaRPr lang="uk-UA" sz="1100" dirty="0"/>
          </a:p>
        </p:txBody>
      </p:sp>
      <p:sp>
        <p:nvSpPr>
          <p:cNvPr id="82" name="Прямокутник 81"/>
          <p:cNvSpPr/>
          <p:nvPr/>
        </p:nvSpPr>
        <p:spPr>
          <a:xfrm>
            <a:off x="2063552" y="3356993"/>
            <a:ext cx="8136904" cy="461665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lvl="0" algn="ctr"/>
            <a:r>
              <a:rPr lang="uk-UA" sz="2400" b="1" dirty="0">
                <a:solidFill>
                  <a:schemeClr val="accent1"/>
                </a:solidFill>
              </a:rPr>
              <a:t>Мінрегіоном Погоджено</a:t>
            </a:r>
          </a:p>
        </p:txBody>
      </p:sp>
      <p:sp>
        <p:nvSpPr>
          <p:cNvPr id="83" name="Прямокутник 82"/>
          <p:cNvSpPr/>
          <p:nvPr/>
        </p:nvSpPr>
        <p:spPr>
          <a:xfrm>
            <a:off x="1913610" y="3789040"/>
            <a:ext cx="17281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800" b="1" dirty="0">
                <a:solidFill>
                  <a:schemeClr val="tx2"/>
                </a:solidFill>
              </a:rPr>
              <a:t>159</a:t>
            </a:r>
            <a:endParaRPr lang="uk-UA" sz="2000" dirty="0">
              <a:solidFill>
                <a:schemeClr val="tx2"/>
              </a:solidFill>
            </a:endParaRPr>
          </a:p>
        </p:txBody>
      </p:sp>
      <p:sp>
        <p:nvSpPr>
          <p:cNvPr id="84" name="Прямокутник 83"/>
          <p:cNvSpPr/>
          <p:nvPr/>
        </p:nvSpPr>
        <p:spPr>
          <a:xfrm>
            <a:off x="8328248" y="3789040"/>
            <a:ext cx="2808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800" b="1" dirty="0">
                <a:solidFill>
                  <a:srgbClr val="FF0000"/>
                </a:solidFill>
              </a:rPr>
              <a:t>988 083,6 </a:t>
            </a:r>
            <a:r>
              <a:rPr lang="uk-UA" sz="1600" dirty="0">
                <a:solidFill>
                  <a:schemeClr val="tx2"/>
                </a:solidFill>
              </a:rPr>
              <a:t>млн.грн. </a:t>
            </a:r>
          </a:p>
        </p:txBody>
      </p:sp>
      <p:sp>
        <p:nvSpPr>
          <p:cNvPr id="86" name="Стрілка вправо 85"/>
          <p:cNvSpPr/>
          <p:nvPr/>
        </p:nvSpPr>
        <p:spPr bwMode="auto">
          <a:xfrm>
            <a:off x="3281762" y="4221088"/>
            <a:ext cx="1296144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7" name="Стрілка вправо 86"/>
          <p:cNvSpPr/>
          <p:nvPr/>
        </p:nvSpPr>
        <p:spPr bwMode="auto">
          <a:xfrm>
            <a:off x="7320136" y="4221088"/>
            <a:ext cx="1008112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8" name="Овал 4"/>
          <p:cNvSpPr/>
          <p:nvPr/>
        </p:nvSpPr>
        <p:spPr>
          <a:xfrm>
            <a:off x="7248128" y="3861048"/>
            <a:ext cx="1014038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на суму</a:t>
            </a:r>
            <a:endParaRPr lang="uk-UA" sz="1100" dirty="0"/>
          </a:p>
        </p:txBody>
      </p:sp>
      <p:sp>
        <p:nvSpPr>
          <p:cNvPr id="89" name="Овал 4"/>
          <p:cNvSpPr/>
          <p:nvPr/>
        </p:nvSpPr>
        <p:spPr>
          <a:xfrm>
            <a:off x="4943872" y="4221089"/>
            <a:ext cx="2160240" cy="36004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sz="2000" dirty="0"/>
              <a:t>проектних заявок</a:t>
            </a:r>
            <a:endParaRPr lang="uk-UA" sz="1200" dirty="0"/>
          </a:p>
        </p:txBody>
      </p:sp>
      <p:sp>
        <p:nvSpPr>
          <p:cNvPr id="90" name="Прямокутник 89"/>
          <p:cNvSpPr/>
          <p:nvPr/>
        </p:nvSpPr>
        <p:spPr>
          <a:xfrm>
            <a:off x="2201642" y="4181018"/>
            <a:ext cx="11859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000" dirty="0"/>
              <a:t>ОТГ</a:t>
            </a:r>
          </a:p>
        </p:txBody>
      </p:sp>
      <p:sp>
        <p:nvSpPr>
          <p:cNvPr id="91" name="Прямокутник 90"/>
          <p:cNvSpPr/>
          <p:nvPr/>
        </p:nvSpPr>
        <p:spPr>
          <a:xfrm>
            <a:off x="8840688" y="4221088"/>
            <a:ext cx="11437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b="1" dirty="0">
                <a:solidFill>
                  <a:srgbClr val="FF0000"/>
                </a:solidFill>
              </a:rPr>
              <a:t>(98,8%)</a:t>
            </a:r>
          </a:p>
        </p:txBody>
      </p:sp>
      <p:sp>
        <p:nvSpPr>
          <p:cNvPr id="92" name="Овал 4"/>
          <p:cNvSpPr/>
          <p:nvPr/>
        </p:nvSpPr>
        <p:spPr>
          <a:xfrm>
            <a:off x="3353770" y="3861048"/>
            <a:ext cx="1230062" cy="316106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 defTabSz="1778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uk-UA" b="1" dirty="0"/>
              <a:t>погоджено</a:t>
            </a:r>
            <a:endParaRPr lang="uk-UA" sz="1100" dirty="0"/>
          </a:p>
        </p:txBody>
      </p:sp>
      <p:sp>
        <p:nvSpPr>
          <p:cNvPr id="93" name="Прямокутник 92"/>
          <p:cNvSpPr/>
          <p:nvPr/>
        </p:nvSpPr>
        <p:spPr>
          <a:xfrm>
            <a:off x="2279576" y="5671495"/>
            <a:ext cx="11521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800" b="1" dirty="0">
                <a:solidFill>
                  <a:schemeClr val="tx2"/>
                </a:solidFill>
              </a:rPr>
              <a:t>6</a:t>
            </a:r>
            <a:endParaRPr lang="uk-UA" sz="2800" dirty="0">
              <a:solidFill>
                <a:schemeClr val="tx2"/>
              </a:solidFill>
            </a:endParaRPr>
          </a:p>
        </p:txBody>
      </p:sp>
      <p:sp>
        <p:nvSpPr>
          <p:cNvPr id="94" name="Прямокутник 93"/>
          <p:cNvSpPr/>
          <p:nvPr/>
        </p:nvSpPr>
        <p:spPr>
          <a:xfrm>
            <a:off x="8112224" y="5868355"/>
            <a:ext cx="25202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800" b="1" dirty="0">
                <a:solidFill>
                  <a:schemeClr val="tx2"/>
                </a:solidFill>
              </a:rPr>
              <a:t>7 510,2 </a:t>
            </a:r>
            <a:r>
              <a:rPr lang="uk-UA" sz="1600" dirty="0">
                <a:solidFill>
                  <a:schemeClr val="tx2"/>
                </a:solidFill>
              </a:rPr>
              <a:t>млн.грн. </a:t>
            </a:r>
            <a:endParaRPr lang="uk-UA" sz="2800" dirty="0">
              <a:solidFill>
                <a:schemeClr val="tx2"/>
              </a:solidFill>
            </a:endParaRPr>
          </a:p>
        </p:txBody>
      </p:sp>
      <p:sp>
        <p:nvSpPr>
          <p:cNvPr id="97" name="Прямокутник 96"/>
          <p:cNvSpPr/>
          <p:nvPr/>
        </p:nvSpPr>
        <p:spPr>
          <a:xfrm>
            <a:off x="2063552" y="5058659"/>
            <a:ext cx="8136904" cy="461665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lvl="0" algn="ctr"/>
            <a:r>
              <a:rPr lang="uk-UA" sz="2400" b="1" dirty="0">
                <a:solidFill>
                  <a:schemeClr val="accent1"/>
                </a:solidFill>
              </a:rPr>
              <a:t>На доопрацювання повернуто</a:t>
            </a:r>
          </a:p>
        </p:txBody>
      </p:sp>
      <p:sp>
        <p:nvSpPr>
          <p:cNvPr id="98" name="Прямокутник 97"/>
          <p:cNvSpPr/>
          <p:nvPr/>
        </p:nvSpPr>
        <p:spPr>
          <a:xfrm>
            <a:off x="5375920" y="5743503"/>
            <a:ext cx="11521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800" b="1" dirty="0">
                <a:solidFill>
                  <a:schemeClr val="tx2"/>
                </a:solidFill>
              </a:rPr>
              <a:t>10</a:t>
            </a:r>
            <a:endParaRPr lang="uk-UA" sz="2800" dirty="0">
              <a:solidFill>
                <a:schemeClr val="tx2"/>
              </a:solidFill>
            </a:endParaRPr>
          </a:p>
        </p:txBody>
      </p:sp>
      <p:sp>
        <p:nvSpPr>
          <p:cNvPr id="99" name="Стрілка вправо 98"/>
          <p:cNvSpPr/>
          <p:nvPr/>
        </p:nvSpPr>
        <p:spPr bwMode="auto">
          <a:xfrm>
            <a:off x="7104112" y="6067539"/>
            <a:ext cx="1008112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02" name="Прямокутник 101"/>
          <p:cNvSpPr/>
          <p:nvPr/>
        </p:nvSpPr>
        <p:spPr>
          <a:xfrm>
            <a:off x="1991544" y="6063473"/>
            <a:ext cx="15841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2000" dirty="0"/>
              <a:t>областей</a:t>
            </a:r>
          </a:p>
        </p:txBody>
      </p:sp>
      <p:sp>
        <p:nvSpPr>
          <p:cNvPr id="103" name="Стрілка вправо 102"/>
          <p:cNvSpPr/>
          <p:nvPr/>
        </p:nvSpPr>
        <p:spPr bwMode="auto">
          <a:xfrm>
            <a:off x="3434162" y="6067539"/>
            <a:ext cx="1296144" cy="324036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000" u="sng" dirty="0"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64620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707738" y="130175"/>
            <a:ext cx="11352588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</a:pPr>
            <a:r>
              <a:rPr lang="ru-RU" altLang="ru-RU" sz="2800" b="1" dirty="0" smtClean="0">
                <a:solidFill>
                  <a:srgbClr val="4F81BD"/>
                </a:solidFill>
                <a:latin typeface="Calibri" pitchFamily="34" charset="0"/>
              </a:rPr>
              <a:t>РОЗПОДІЛ   СУБВЕНЦІЇ   ЗА   </a:t>
            </a:r>
            <a:r>
              <a:rPr lang="uk-UA" altLang="ru-RU" sz="2800" b="1" dirty="0" smtClean="0">
                <a:solidFill>
                  <a:srgbClr val="4F81BD"/>
                </a:solidFill>
                <a:latin typeface="Calibri" pitchFamily="34" charset="0"/>
              </a:rPr>
              <a:t>НАПРЯМАМИ</a:t>
            </a:r>
            <a:endParaRPr lang="uk-UA" altLang="ru-RU" sz="28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4" name="Округлений прямокутник 3"/>
          <p:cNvSpPr/>
          <p:nvPr/>
        </p:nvSpPr>
        <p:spPr bwMode="auto">
          <a:xfrm>
            <a:off x="707738" y="1268760"/>
            <a:ext cx="4020110" cy="14401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Об’єкти дорожньо-транспортної інфраструктури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uk-UA" sz="2000" b="1" dirty="0" smtClean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лизько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52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9" name="Округлений прямокутник 8"/>
          <p:cNvSpPr/>
          <p:nvPr/>
        </p:nvSpPr>
        <p:spPr bwMode="auto">
          <a:xfrm>
            <a:off x="7188458" y="1268760"/>
            <a:ext cx="4164126" cy="14401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Об’єкти та заходи у сфері освіти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 smtClean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лизько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45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1" name="Округлений прямокутник 10"/>
          <p:cNvSpPr/>
          <p:nvPr/>
        </p:nvSpPr>
        <p:spPr bwMode="auto">
          <a:xfrm>
            <a:off x="7274254" y="3163148"/>
            <a:ext cx="4164126" cy="129614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Спецтехніка та інше обладнання для КП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 smtClean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лизько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8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2" name="Округлений прямокутник 11"/>
          <p:cNvSpPr/>
          <p:nvPr/>
        </p:nvSpPr>
        <p:spPr bwMode="auto">
          <a:xfrm>
            <a:off x="767408" y="3176972"/>
            <a:ext cx="3960440" cy="129614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Об’єкти водопостачання, водовідведення та полігонів ТПВ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 smtClean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лизько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9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3" name="Округлений прямокутник 12"/>
          <p:cNvSpPr/>
          <p:nvPr/>
        </p:nvSpPr>
        <p:spPr bwMode="auto">
          <a:xfrm>
            <a:off x="767408" y="5013176"/>
            <a:ext cx="3960440" cy="136815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Об’єкти сфери охорони </a:t>
            </a:r>
            <a:r>
              <a:rPr lang="uk-UA" sz="2000" b="1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здоров’я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лизько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8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4" name="Округлений прямокутник 13"/>
          <p:cNvSpPr/>
          <p:nvPr/>
        </p:nvSpPr>
        <p:spPr bwMode="auto">
          <a:xfrm>
            <a:off x="7320136" y="5013176"/>
            <a:ext cx="4164126" cy="136815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uk-UA" sz="20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Шкільний автобус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2000" b="1" dirty="0" smtClean="0">
              <a:solidFill>
                <a:schemeClr val="bg1"/>
              </a:solidFill>
              <a:latin typeface="Calibri" pitchFamily="34" charset="0"/>
              <a:ea typeface="MS PGothic" pitchFamily="34" charset="-128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Більше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30 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проектних </a:t>
            </a:r>
            <a:r>
              <a:rPr lang="uk-UA" sz="2000" b="1" dirty="0">
                <a:latin typeface="Calibri" pitchFamily="34" charset="0"/>
                <a:ea typeface="MS PGothic" pitchFamily="34" charset="-128"/>
              </a:rPr>
              <a:t>з</a:t>
            </a:r>
            <a:r>
              <a:rPr lang="uk-UA" sz="2000" b="1" dirty="0" smtClean="0">
                <a:latin typeface="Calibri" pitchFamily="34" charset="0"/>
                <a:ea typeface="MS PGothic" pitchFamily="34" charset="-128"/>
              </a:rPr>
              <a:t>аявок</a:t>
            </a:r>
            <a:endParaRPr lang="uk-UA" sz="2000" b="1" dirty="0"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93437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кутник 54"/>
          <p:cNvSpPr/>
          <p:nvPr/>
        </p:nvSpPr>
        <p:spPr>
          <a:xfrm>
            <a:off x="335360" y="980729"/>
            <a:ext cx="1142526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Tx/>
              <a:buChar char="-"/>
            </a:pPr>
            <a:r>
              <a:rPr lang="uk-UA" sz="2000" dirty="0" smtClean="0"/>
              <a:t>невідповідність </a:t>
            </a:r>
            <a:r>
              <a:rPr lang="uk-UA" sz="2000" dirty="0"/>
              <a:t>напрямкам використання </a:t>
            </a:r>
            <a:r>
              <a:rPr lang="uk-UA" sz="2000" dirty="0" smtClean="0"/>
              <a:t>коштів</a:t>
            </a:r>
            <a:r>
              <a:rPr lang="en-US" sz="2000" dirty="0"/>
              <a:t> </a:t>
            </a:r>
            <a:r>
              <a:rPr lang="uk-UA" sz="2000" dirty="0" smtClean="0"/>
              <a:t>(постанова КМУ);</a:t>
            </a:r>
          </a:p>
          <a:p>
            <a:pPr marL="342900" indent="-342900" algn="just">
              <a:buFontTx/>
              <a:buChar char="-"/>
            </a:pPr>
            <a:endParaRPr lang="uk-UA" sz="2000" dirty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невідповідність </a:t>
            </a:r>
            <a:r>
              <a:rPr lang="uk-UA" sz="2000" dirty="0"/>
              <a:t>формі проектної заявки </a:t>
            </a:r>
            <a:r>
              <a:rPr lang="uk-UA" sz="2000" dirty="0" smtClean="0"/>
              <a:t>(накази   </a:t>
            </a:r>
            <a:r>
              <a:rPr lang="uk-UA" sz="2000" dirty="0" err="1" smtClean="0"/>
              <a:t>Мінрегіону</a:t>
            </a:r>
            <a:r>
              <a:rPr lang="uk-UA" sz="2000" dirty="0" smtClean="0"/>
              <a:t>);</a:t>
            </a:r>
          </a:p>
          <a:p>
            <a:pPr marL="342900" indent="-342900" algn="just">
              <a:buFontTx/>
              <a:buChar char="-"/>
            </a:pPr>
            <a:endParaRPr lang="uk-UA" sz="2000" dirty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невідповідність </a:t>
            </a:r>
            <a:r>
              <a:rPr lang="uk-UA" sz="2000" dirty="0"/>
              <a:t>плану соціально-економічного розвитку ОТГ</a:t>
            </a:r>
            <a:r>
              <a:rPr lang="uk-UA" sz="2000" dirty="0" smtClean="0"/>
              <a:t>;</a:t>
            </a:r>
          </a:p>
          <a:p>
            <a:pPr marL="342900" indent="-342900" algn="just">
              <a:buFontTx/>
              <a:buChar char="-"/>
            </a:pPr>
            <a:endParaRPr lang="uk-UA" sz="2000" dirty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відсутність розрахунків у бюджетній частині проектної заявки;</a:t>
            </a:r>
          </a:p>
          <a:p>
            <a:pPr marL="342900" indent="-342900" algn="just">
              <a:buFontTx/>
              <a:buChar char="-"/>
            </a:pPr>
            <a:endParaRPr lang="uk-UA" sz="2000" dirty="0" smtClean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відсутність розрахунків економічної ефективності від реалізації проекту;</a:t>
            </a:r>
          </a:p>
          <a:p>
            <a:pPr marL="342900" indent="-342900" algn="just">
              <a:buFontTx/>
              <a:buChar char="-"/>
            </a:pPr>
            <a:endParaRPr lang="uk-UA" sz="2000" dirty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закупівля </a:t>
            </a:r>
            <a:r>
              <a:rPr lang="uk-UA" sz="2000" dirty="0"/>
              <a:t>спеціалізованої техніки без утворення комунальних підприємств і пожежних </a:t>
            </a:r>
            <a:r>
              <a:rPr lang="uk-UA" sz="2000" dirty="0" smtClean="0"/>
              <a:t>депо;</a:t>
            </a:r>
          </a:p>
          <a:p>
            <a:pPr marL="342900" indent="-342900" algn="just">
              <a:buFontTx/>
              <a:buChar char="-"/>
            </a:pPr>
            <a:endParaRPr lang="uk-UA" sz="2000" dirty="0" smtClean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відсутність переліку заходів та їх обсягів, передбачених проектом та кошторисною документацією;</a:t>
            </a:r>
          </a:p>
          <a:p>
            <a:pPr marL="342900" indent="-342900" algn="just">
              <a:buFontTx/>
              <a:buChar char="-"/>
            </a:pPr>
            <a:endParaRPr lang="uk-UA" sz="2000" dirty="0" smtClean="0"/>
          </a:p>
          <a:p>
            <a:pPr marL="342900" indent="-342900" algn="just">
              <a:buFontTx/>
              <a:buChar char="-"/>
            </a:pPr>
            <a:r>
              <a:rPr lang="uk-UA" sz="2000" dirty="0" smtClean="0"/>
              <a:t>невідповідність даних проектної заявки та кошторисної документації</a:t>
            </a:r>
            <a:r>
              <a:rPr lang="uk-UA" sz="2000" dirty="0"/>
              <a:t>.</a:t>
            </a:r>
            <a:endParaRPr lang="uk-UA" sz="2000" dirty="0" smtClean="0"/>
          </a:p>
        </p:txBody>
      </p:sp>
      <p:sp>
        <p:nvSpPr>
          <p:cNvPr id="122" name="Rectangle 3"/>
          <p:cNvSpPr txBox="1">
            <a:spLocks noChangeArrowheads="1"/>
          </p:cNvSpPr>
          <p:nvPr/>
        </p:nvSpPr>
        <p:spPr bwMode="auto">
          <a:xfrm>
            <a:off x="1199456" y="162719"/>
            <a:ext cx="10479661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60" tIns="44633" rIns="89260" bIns="44633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800" b="1" dirty="0" smtClean="0">
                <a:solidFill>
                  <a:schemeClr val="accent1"/>
                </a:solidFill>
                <a:latin typeface="Calibri" pitchFamily="34" charset="0"/>
              </a:rPr>
              <a:t>ОСНОВНІ ЗАУВАЖЕННЯ ДО ПРОЕКТНИХ ЗАЯВОК</a:t>
            </a:r>
            <a:endParaRPr lang="uk-UA" altLang="ru-RU" sz="2800" b="1" dirty="0">
              <a:solidFill>
                <a:schemeClr val="accent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46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ITQOMvr0Gv2EgWtM5HLg"/>
</p:tagLst>
</file>

<file path=ppt/theme/theme1.xml><?xml version="1.0" encoding="utf-8"?>
<a:theme xmlns:a="http://schemas.openxmlformats.org/drawingml/2006/main" name="2_Default Desig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40</TotalTime>
  <Words>736</Words>
  <Application>Microsoft Office PowerPoint</Application>
  <PresentationFormat>Довільний</PresentationFormat>
  <Paragraphs>215</Paragraphs>
  <Slides>11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ів</vt:lpstr>
      </vt:variant>
      <vt:variant>
        <vt:i4>11</vt:i4>
      </vt:variant>
    </vt:vector>
  </HeadingPairs>
  <TitlesOfParts>
    <vt:vector size="12" baseType="lpstr">
      <vt:lpstr>2_Default Design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Попова Лілія Григорівна</cp:lastModifiedBy>
  <cp:revision>562</cp:revision>
  <cp:lastPrinted>2016-10-06T14:15:47Z</cp:lastPrinted>
  <dcterms:created xsi:type="dcterms:W3CDTF">2015-07-03T09:37:24Z</dcterms:created>
  <dcterms:modified xsi:type="dcterms:W3CDTF">2016-12-01T13:10:56Z</dcterms:modified>
</cp:coreProperties>
</file>